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5" r:id="rId1"/>
  </p:sldMasterIdLst>
  <p:notesMasterIdLst>
    <p:notesMasterId r:id="rId21"/>
  </p:notesMasterIdLst>
  <p:sldIdLst>
    <p:sldId id="3313" r:id="rId2"/>
    <p:sldId id="3499" r:id="rId3"/>
    <p:sldId id="3646" r:id="rId4"/>
    <p:sldId id="3679" r:id="rId5"/>
    <p:sldId id="3660" r:id="rId6"/>
    <p:sldId id="3647" r:id="rId7"/>
    <p:sldId id="3680" r:id="rId8"/>
    <p:sldId id="3645" r:id="rId9"/>
    <p:sldId id="3624" r:id="rId10"/>
    <p:sldId id="3676" r:id="rId11"/>
    <p:sldId id="3681" r:id="rId12"/>
    <p:sldId id="3495" r:id="rId13"/>
    <p:sldId id="3655" r:id="rId14"/>
    <p:sldId id="3675" r:id="rId15"/>
    <p:sldId id="277" r:id="rId16"/>
    <p:sldId id="3678" r:id="rId17"/>
    <p:sldId id="3496" r:id="rId18"/>
    <p:sldId id="3677" r:id="rId19"/>
    <p:sldId id="3674" r:id="rId20"/>
  </p:sldIdLst>
  <p:sldSz cx="12192000" cy="6858000"/>
  <p:notesSz cx="6858000" cy="9144000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93" userDrawn="1">
          <p15:clr>
            <a:srgbClr val="A4A3A4"/>
          </p15:clr>
        </p15:guide>
        <p15:guide id="4" pos="7287" userDrawn="1">
          <p15:clr>
            <a:srgbClr val="A4A3A4"/>
          </p15:clr>
        </p15:guide>
        <p15:guide id="5" orient="horz" pos="572" userDrawn="1">
          <p15:clr>
            <a:srgbClr val="A4A3A4"/>
          </p15:clr>
        </p15:guide>
        <p15:guide id="6" orient="horz" pos="3952" userDrawn="1">
          <p15:clr>
            <a:srgbClr val="A4A3A4"/>
          </p15:clr>
        </p15:guide>
        <p15:guide id="7" pos="4747" userDrawn="1">
          <p15:clr>
            <a:srgbClr val="A4A3A4"/>
          </p15:clr>
        </p15:guide>
        <p15:guide id="8" orient="horz" pos="238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E4"/>
    <a:srgbClr val="000000"/>
    <a:srgbClr val="CC0000"/>
    <a:srgbClr val="9933FF"/>
    <a:srgbClr val="9999FF"/>
    <a:srgbClr val="CCFF33"/>
    <a:srgbClr val="494C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93" autoAdjust="0"/>
    <p:restoredTop sz="83431" autoAdjust="0"/>
  </p:normalViewPr>
  <p:slideViewPr>
    <p:cSldViewPr snapToGrid="0">
      <p:cViewPr varScale="1">
        <p:scale>
          <a:sx n="92" d="100"/>
          <a:sy n="92" d="100"/>
        </p:scale>
        <p:origin x="1398" y="90"/>
      </p:cViewPr>
      <p:guideLst>
        <p:guide orient="horz" pos="2160"/>
        <p:guide pos="3840"/>
        <p:guide pos="393"/>
        <p:guide pos="7287"/>
        <p:guide orient="horz" pos="572"/>
        <p:guide orient="horz" pos="3952"/>
        <p:guide pos="4747"/>
        <p:guide orient="horz" pos="238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lkova, Olga" userId="0404fbcc-66e0-402d-b9dc-da8de3375cd8" providerId="ADAL" clId="{EC3E7CA9-0629-4B00-9952-B9B1F89FFF93}"/>
    <pc:docChg chg="undo redo custSel addSld delSld modSld sldOrd">
      <pc:chgData name="Balkova, Olga" userId="0404fbcc-66e0-402d-b9dc-da8de3375cd8" providerId="ADAL" clId="{EC3E7CA9-0629-4B00-9952-B9B1F89FFF93}" dt="2025-04-08T18:26:53.544" v="4093"/>
      <pc:docMkLst>
        <pc:docMk/>
      </pc:docMkLst>
      <pc:sldChg chg="del">
        <pc:chgData name="Balkova, Olga" userId="0404fbcc-66e0-402d-b9dc-da8de3375cd8" providerId="ADAL" clId="{EC3E7CA9-0629-4B00-9952-B9B1F89FFF93}" dt="2025-04-08T11:06:04.063" v="2769" actId="47"/>
        <pc:sldMkLst>
          <pc:docMk/>
          <pc:sldMk cId="2107059402" sldId="257"/>
        </pc:sldMkLst>
      </pc:sldChg>
      <pc:sldChg chg="del ord">
        <pc:chgData name="Balkova, Olga" userId="0404fbcc-66e0-402d-b9dc-da8de3375cd8" providerId="ADAL" clId="{EC3E7CA9-0629-4B00-9952-B9B1F89FFF93}" dt="2025-04-08T11:11:50.330" v="2800" actId="47"/>
        <pc:sldMkLst>
          <pc:docMk/>
          <pc:sldMk cId="2610303877" sldId="258"/>
        </pc:sldMkLst>
      </pc:sldChg>
      <pc:sldChg chg="del">
        <pc:chgData name="Balkova, Olga" userId="0404fbcc-66e0-402d-b9dc-da8de3375cd8" providerId="ADAL" clId="{EC3E7CA9-0629-4B00-9952-B9B1F89FFF93}" dt="2025-04-08T11:06:15.592" v="2771" actId="47"/>
        <pc:sldMkLst>
          <pc:docMk/>
          <pc:sldMk cId="20536160" sldId="260"/>
        </pc:sldMkLst>
      </pc:sldChg>
      <pc:sldChg chg="modSp mod">
        <pc:chgData name="Balkova, Olga" userId="0404fbcc-66e0-402d-b9dc-da8de3375cd8" providerId="ADAL" clId="{EC3E7CA9-0629-4B00-9952-B9B1F89FFF93}" dt="2025-04-08T13:30:56.680" v="3903" actId="207"/>
        <pc:sldMkLst>
          <pc:docMk/>
          <pc:sldMk cId="709684970" sldId="3313"/>
        </pc:sldMkLst>
        <pc:spChg chg="mod">
          <ac:chgData name="Balkova, Olga" userId="0404fbcc-66e0-402d-b9dc-da8de3375cd8" providerId="ADAL" clId="{EC3E7CA9-0629-4B00-9952-B9B1F89FFF93}" dt="2025-04-08T13:30:56.680" v="3903" actId="207"/>
          <ac:spMkLst>
            <pc:docMk/>
            <pc:sldMk cId="709684970" sldId="3313"/>
            <ac:spMk id="6" creationId="{B16F1B2E-3EF7-E9C7-C3B1-E0BC441B766A}"/>
          </ac:spMkLst>
        </pc:spChg>
      </pc:sldChg>
      <pc:sldChg chg="ord modNotesTx">
        <pc:chgData name="Balkova, Olga" userId="0404fbcc-66e0-402d-b9dc-da8de3375cd8" providerId="ADAL" clId="{EC3E7CA9-0629-4B00-9952-B9B1F89FFF93}" dt="2025-04-08T18:19:10.279" v="4004" actId="6549"/>
        <pc:sldMkLst>
          <pc:docMk/>
          <pc:sldMk cId="786277330" sldId="3495"/>
        </pc:sldMkLst>
      </pc:sldChg>
      <pc:sldChg chg="mod ord modShow">
        <pc:chgData name="Balkova, Olga" userId="0404fbcc-66e0-402d-b9dc-da8de3375cd8" providerId="ADAL" clId="{EC3E7CA9-0629-4B00-9952-B9B1F89FFF93}" dt="2025-04-08T09:32:55.954" v="60" actId="729"/>
        <pc:sldMkLst>
          <pc:docMk/>
          <pc:sldMk cId="2547240338" sldId="3496"/>
        </pc:sldMkLst>
      </pc:sldChg>
      <pc:sldChg chg="delSp modSp mod delAnim modAnim">
        <pc:chgData name="Balkova, Olga" userId="0404fbcc-66e0-402d-b9dc-da8de3375cd8" providerId="ADAL" clId="{EC3E7CA9-0629-4B00-9952-B9B1F89FFF93}" dt="2025-04-08T18:20:40.903" v="4006" actId="20577"/>
        <pc:sldMkLst>
          <pc:docMk/>
          <pc:sldMk cId="1473112982" sldId="3499"/>
        </pc:sldMkLst>
        <pc:spChg chg="mod">
          <ac:chgData name="Balkova, Olga" userId="0404fbcc-66e0-402d-b9dc-da8de3375cd8" providerId="ADAL" clId="{EC3E7CA9-0629-4B00-9952-B9B1F89FFF93}" dt="2025-04-08T18:20:40.903" v="4006" actId="20577"/>
          <ac:spMkLst>
            <pc:docMk/>
            <pc:sldMk cId="1473112982" sldId="3499"/>
            <ac:spMk id="4" creationId="{59FDC8FE-C10D-2F55-5202-E74500BD2451}"/>
          </ac:spMkLst>
        </pc:spChg>
        <pc:spChg chg="del">
          <ac:chgData name="Balkova, Olga" userId="0404fbcc-66e0-402d-b9dc-da8de3375cd8" providerId="ADAL" clId="{EC3E7CA9-0629-4B00-9952-B9B1F89FFF93}" dt="2025-04-08T13:01:19.329" v="3699" actId="478"/>
          <ac:spMkLst>
            <pc:docMk/>
            <pc:sldMk cId="1473112982" sldId="3499"/>
            <ac:spMk id="13" creationId="{7ECD5245-60F4-4B18-9A67-258DB1E3EF57}"/>
          </ac:spMkLst>
        </pc:spChg>
        <pc:spChg chg="del">
          <ac:chgData name="Balkova, Olga" userId="0404fbcc-66e0-402d-b9dc-da8de3375cd8" providerId="ADAL" clId="{EC3E7CA9-0629-4B00-9952-B9B1F89FFF93}" dt="2025-04-08T13:01:27.474" v="3702" actId="478"/>
          <ac:spMkLst>
            <pc:docMk/>
            <pc:sldMk cId="1473112982" sldId="3499"/>
            <ac:spMk id="16" creationId="{56BDA271-246A-44B6-8C4A-CC5A18066E45}"/>
          </ac:spMkLst>
        </pc:spChg>
        <pc:spChg chg="mod">
          <ac:chgData name="Balkova, Olga" userId="0404fbcc-66e0-402d-b9dc-da8de3375cd8" providerId="ADAL" clId="{EC3E7CA9-0629-4B00-9952-B9B1F89FFF93}" dt="2025-04-08T12:59:14.438" v="3691" actId="1037"/>
          <ac:spMkLst>
            <pc:docMk/>
            <pc:sldMk cId="1473112982" sldId="3499"/>
            <ac:spMk id="18" creationId="{159AA373-D1D8-1880-A94F-6038C4CC825C}"/>
          </ac:spMkLst>
        </pc:spChg>
        <pc:spChg chg="del mod">
          <ac:chgData name="Balkova, Olga" userId="0404fbcc-66e0-402d-b9dc-da8de3375cd8" providerId="ADAL" clId="{EC3E7CA9-0629-4B00-9952-B9B1F89FFF93}" dt="2025-04-08T13:01:21.115" v="3700" actId="478"/>
          <ac:spMkLst>
            <pc:docMk/>
            <pc:sldMk cId="1473112982" sldId="3499"/>
            <ac:spMk id="19" creationId="{9A650E4F-4E0D-7882-E060-A1822558993A}"/>
          </ac:spMkLst>
        </pc:spChg>
        <pc:spChg chg="del">
          <ac:chgData name="Balkova, Olga" userId="0404fbcc-66e0-402d-b9dc-da8de3375cd8" providerId="ADAL" clId="{EC3E7CA9-0629-4B00-9952-B9B1F89FFF93}" dt="2025-04-08T13:01:25.942" v="3701" actId="478"/>
          <ac:spMkLst>
            <pc:docMk/>
            <pc:sldMk cId="1473112982" sldId="3499"/>
            <ac:spMk id="20" creationId="{42E2803D-900A-FB25-BEFD-CBEF27598328}"/>
          </ac:spMkLst>
        </pc:spChg>
      </pc:sldChg>
      <pc:sldChg chg="del">
        <pc:chgData name="Balkova, Olga" userId="0404fbcc-66e0-402d-b9dc-da8de3375cd8" providerId="ADAL" clId="{EC3E7CA9-0629-4B00-9952-B9B1F89FFF93}" dt="2025-04-08T11:09:13.648" v="2784" actId="47"/>
        <pc:sldMkLst>
          <pc:docMk/>
          <pc:sldMk cId="538399265" sldId="3613"/>
        </pc:sldMkLst>
      </pc:sldChg>
      <pc:sldChg chg="del">
        <pc:chgData name="Balkova, Olga" userId="0404fbcc-66e0-402d-b9dc-da8de3375cd8" providerId="ADAL" clId="{EC3E7CA9-0629-4B00-9952-B9B1F89FFF93}" dt="2025-04-08T11:09:16.116" v="2785" actId="47"/>
        <pc:sldMkLst>
          <pc:docMk/>
          <pc:sldMk cId="1304800670" sldId="3614"/>
        </pc:sldMkLst>
      </pc:sldChg>
      <pc:sldChg chg="del">
        <pc:chgData name="Balkova, Olga" userId="0404fbcc-66e0-402d-b9dc-da8de3375cd8" providerId="ADAL" clId="{EC3E7CA9-0629-4B00-9952-B9B1F89FFF93}" dt="2025-04-08T11:09:20.091" v="2786" actId="47"/>
        <pc:sldMkLst>
          <pc:docMk/>
          <pc:sldMk cId="3782205763" sldId="3620"/>
        </pc:sldMkLst>
      </pc:sldChg>
      <pc:sldChg chg="del">
        <pc:chgData name="Balkova, Olga" userId="0404fbcc-66e0-402d-b9dc-da8de3375cd8" providerId="ADAL" clId="{EC3E7CA9-0629-4B00-9952-B9B1F89FFF93}" dt="2025-04-08T11:14:37.097" v="2827" actId="47"/>
        <pc:sldMkLst>
          <pc:docMk/>
          <pc:sldMk cId="283098459" sldId="3623"/>
        </pc:sldMkLst>
      </pc:sldChg>
      <pc:sldChg chg="addSp delSp modSp mod ord">
        <pc:chgData name="Balkova, Olga" userId="0404fbcc-66e0-402d-b9dc-da8de3375cd8" providerId="ADAL" clId="{EC3E7CA9-0629-4B00-9952-B9B1F89FFF93}" dt="2025-04-08T13:18:15.380" v="3877" actId="1076"/>
        <pc:sldMkLst>
          <pc:docMk/>
          <pc:sldMk cId="3244735082" sldId="3624"/>
        </pc:sldMkLst>
        <pc:spChg chg="add">
          <ac:chgData name="Balkova, Olga" userId="0404fbcc-66e0-402d-b9dc-da8de3375cd8" providerId="ADAL" clId="{EC3E7CA9-0629-4B00-9952-B9B1F89FFF93}" dt="2025-04-08T13:16:18.937" v="3858"/>
          <ac:spMkLst>
            <pc:docMk/>
            <pc:sldMk cId="3244735082" sldId="3624"/>
            <ac:spMk id="4" creationId="{5D53D270-6D63-9143-6572-AE0B5F2F0040}"/>
          </ac:spMkLst>
        </pc:spChg>
        <pc:spChg chg="add del mod">
          <ac:chgData name="Balkova, Olga" userId="0404fbcc-66e0-402d-b9dc-da8de3375cd8" providerId="ADAL" clId="{EC3E7CA9-0629-4B00-9952-B9B1F89FFF93}" dt="2025-04-08T11:13:57.202" v="2822" actId="478"/>
          <ac:spMkLst>
            <pc:docMk/>
            <pc:sldMk cId="3244735082" sldId="3624"/>
            <ac:spMk id="4" creationId="{AF662549-C4F5-90AA-1D32-40E3DC70AA2C}"/>
          </ac:spMkLst>
        </pc:spChg>
        <pc:spChg chg="add mod">
          <ac:chgData name="Balkova, Olga" userId="0404fbcc-66e0-402d-b9dc-da8de3375cd8" providerId="ADAL" clId="{EC3E7CA9-0629-4B00-9952-B9B1F89FFF93}" dt="2025-04-08T11:13:54.974" v="2821" actId="208"/>
          <ac:spMkLst>
            <pc:docMk/>
            <pc:sldMk cId="3244735082" sldId="3624"/>
            <ac:spMk id="18" creationId="{22DDDDC9-77A1-2FA7-FE41-1E10D208E56C}"/>
          </ac:spMkLst>
        </pc:spChg>
        <pc:spChg chg="add mod">
          <ac:chgData name="Balkova, Olga" userId="0404fbcc-66e0-402d-b9dc-da8de3375cd8" providerId="ADAL" clId="{EC3E7CA9-0629-4B00-9952-B9B1F89FFF93}" dt="2025-04-08T11:14:06.315" v="2824" actId="1076"/>
          <ac:spMkLst>
            <pc:docMk/>
            <pc:sldMk cId="3244735082" sldId="3624"/>
            <ac:spMk id="19" creationId="{215E0D2D-B42A-2694-2500-B68F4468DEFD}"/>
          </ac:spMkLst>
        </pc:spChg>
        <pc:picChg chg="add mod">
          <ac:chgData name="Balkova, Olga" userId="0404fbcc-66e0-402d-b9dc-da8de3375cd8" providerId="ADAL" clId="{EC3E7CA9-0629-4B00-9952-B9B1F89FFF93}" dt="2025-04-08T13:16:32.521" v="3863" actId="1076"/>
          <ac:picMkLst>
            <pc:docMk/>
            <pc:sldMk cId="3244735082" sldId="3624"/>
            <ac:picMk id="20" creationId="{FA8CF4E1-1646-2051-6CBD-9F37F1FC2FF1}"/>
          </ac:picMkLst>
        </pc:picChg>
        <pc:picChg chg="add mod">
          <ac:chgData name="Balkova, Olga" userId="0404fbcc-66e0-402d-b9dc-da8de3375cd8" providerId="ADAL" clId="{EC3E7CA9-0629-4B00-9952-B9B1F89FFF93}" dt="2025-04-08T13:18:15.380" v="3877" actId="1076"/>
          <ac:picMkLst>
            <pc:docMk/>
            <pc:sldMk cId="3244735082" sldId="3624"/>
            <ac:picMk id="21" creationId="{100EF537-FBF1-4707-7B2F-BF777232D1E6}"/>
          </ac:picMkLst>
        </pc:picChg>
        <pc:picChg chg="add del mod">
          <ac:chgData name="Balkova, Olga" userId="0404fbcc-66e0-402d-b9dc-da8de3375cd8" providerId="ADAL" clId="{EC3E7CA9-0629-4B00-9952-B9B1F89FFF93}" dt="2025-04-08T13:18:02.884" v="3872" actId="478"/>
          <ac:picMkLst>
            <pc:docMk/>
            <pc:sldMk cId="3244735082" sldId="3624"/>
            <ac:picMk id="1028" creationId="{D20EC507-159E-8C04-BF86-958D4FEC9DA3}"/>
          </ac:picMkLst>
        </pc:picChg>
        <pc:picChg chg="add mod">
          <ac:chgData name="Balkova, Olga" userId="0404fbcc-66e0-402d-b9dc-da8de3375cd8" providerId="ADAL" clId="{EC3E7CA9-0629-4B00-9952-B9B1F89FFF93}" dt="2025-04-08T13:18:10.415" v="3875" actId="1076"/>
          <ac:picMkLst>
            <pc:docMk/>
            <pc:sldMk cId="3244735082" sldId="3624"/>
            <ac:picMk id="1030" creationId="{4BD050D6-04C4-EB80-8FD1-82D2F1519A4D}"/>
          </ac:picMkLst>
        </pc:picChg>
      </pc:sldChg>
      <pc:sldChg chg="modSp mod">
        <pc:chgData name="Balkova, Olga" userId="0404fbcc-66e0-402d-b9dc-da8de3375cd8" providerId="ADAL" clId="{EC3E7CA9-0629-4B00-9952-B9B1F89FFF93}" dt="2025-04-08T18:22:55.196" v="4056" actId="207"/>
        <pc:sldMkLst>
          <pc:docMk/>
          <pc:sldMk cId="481238007" sldId="3645"/>
        </pc:sldMkLst>
        <pc:spChg chg="mod">
          <ac:chgData name="Balkova, Olga" userId="0404fbcc-66e0-402d-b9dc-da8de3375cd8" providerId="ADAL" clId="{EC3E7CA9-0629-4B00-9952-B9B1F89FFF93}" dt="2025-04-08T18:22:55.196" v="4056" actId="207"/>
          <ac:spMkLst>
            <pc:docMk/>
            <pc:sldMk cId="481238007" sldId="3645"/>
            <ac:spMk id="6" creationId="{D7584ED7-0BE1-0802-55AB-9D0C3F47E549}"/>
          </ac:spMkLst>
        </pc:spChg>
        <pc:spChg chg="mod">
          <ac:chgData name="Balkova, Olga" userId="0404fbcc-66e0-402d-b9dc-da8de3375cd8" providerId="ADAL" clId="{EC3E7CA9-0629-4B00-9952-B9B1F89FFF93}" dt="2025-04-08T18:18:49.451" v="4001" actId="20577"/>
          <ac:spMkLst>
            <pc:docMk/>
            <pc:sldMk cId="481238007" sldId="3645"/>
            <ac:spMk id="7" creationId="{D3C9C256-51EC-94C4-40CA-57C70E7193D3}"/>
          </ac:spMkLst>
        </pc:spChg>
      </pc:sldChg>
      <pc:sldChg chg="modSp mod ord">
        <pc:chgData name="Balkova, Olga" userId="0404fbcc-66e0-402d-b9dc-da8de3375cd8" providerId="ADAL" clId="{EC3E7CA9-0629-4B00-9952-B9B1F89FFF93}" dt="2025-04-08T13:24:05.487" v="3894" actId="6549"/>
        <pc:sldMkLst>
          <pc:docMk/>
          <pc:sldMk cId="3460197469" sldId="3646"/>
        </pc:sldMkLst>
        <pc:graphicFrameChg chg="mod modGraphic">
          <ac:chgData name="Balkova, Olga" userId="0404fbcc-66e0-402d-b9dc-da8de3375cd8" providerId="ADAL" clId="{EC3E7CA9-0629-4B00-9952-B9B1F89FFF93}" dt="2025-04-08T13:24:05.487" v="3894" actId="6549"/>
          <ac:graphicFrameMkLst>
            <pc:docMk/>
            <pc:sldMk cId="3460197469" sldId="3646"/>
            <ac:graphicFrameMk id="3" creationId="{E0366B20-3842-9861-44A2-53A7863E7C01}"/>
          </ac:graphicFrameMkLst>
        </pc:graphicFrameChg>
      </pc:sldChg>
      <pc:sldChg chg="ord">
        <pc:chgData name="Balkova, Olga" userId="0404fbcc-66e0-402d-b9dc-da8de3375cd8" providerId="ADAL" clId="{EC3E7CA9-0629-4B00-9952-B9B1F89FFF93}" dt="2025-04-08T12:52:22.512" v="3499"/>
        <pc:sldMkLst>
          <pc:docMk/>
          <pc:sldMk cId="3979058207" sldId="3647"/>
        </pc:sldMkLst>
      </pc:sldChg>
      <pc:sldChg chg="del modNotesTx">
        <pc:chgData name="Balkova, Olga" userId="0404fbcc-66e0-402d-b9dc-da8de3375cd8" providerId="ADAL" clId="{EC3E7CA9-0629-4B00-9952-B9B1F89FFF93}" dt="2025-04-08T11:06:13.017" v="2770" actId="47"/>
        <pc:sldMkLst>
          <pc:docMk/>
          <pc:sldMk cId="2138053291" sldId="3648"/>
        </pc:sldMkLst>
      </pc:sldChg>
      <pc:sldChg chg="del">
        <pc:chgData name="Balkova, Olga" userId="0404fbcc-66e0-402d-b9dc-da8de3375cd8" providerId="ADAL" clId="{EC3E7CA9-0629-4B00-9952-B9B1F89FFF93}" dt="2025-04-08T11:08:02.509" v="2779" actId="47"/>
        <pc:sldMkLst>
          <pc:docMk/>
          <pc:sldMk cId="1747439987" sldId="3649"/>
        </pc:sldMkLst>
      </pc:sldChg>
      <pc:sldChg chg="del">
        <pc:chgData name="Balkova, Olga" userId="0404fbcc-66e0-402d-b9dc-da8de3375cd8" providerId="ADAL" clId="{EC3E7CA9-0629-4B00-9952-B9B1F89FFF93}" dt="2025-04-08T11:10:28.460" v="2796" actId="47"/>
        <pc:sldMkLst>
          <pc:docMk/>
          <pc:sldMk cId="1631194248" sldId="3650"/>
        </pc:sldMkLst>
      </pc:sldChg>
      <pc:sldChg chg="del">
        <pc:chgData name="Balkova, Olga" userId="0404fbcc-66e0-402d-b9dc-da8de3375cd8" providerId="ADAL" clId="{EC3E7CA9-0629-4B00-9952-B9B1F89FFF93}" dt="2025-04-08T09:33:31.256" v="61" actId="47"/>
        <pc:sldMkLst>
          <pc:docMk/>
          <pc:sldMk cId="2597184023" sldId="3651"/>
        </pc:sldMkLst>
      </pc:sldChg>
      <pc:sldChg chg="del">
        <pc:chgData name="Balkova, Olga" userId="0404fbcc-66e0-402d-b9dc-da8de3375cd8" providerId="ADAL" clId="{EC3E7CA9-0629-4B00-9952-B9B1F89FFF93}" dt="2025-04-08T11:00:02.587" v="2705" actId="47"/>
        <pc:sldMkLst>
          <pc:docMk/>
          <pc:sldMk cId="4111798338" sldId="3652"/>
        </pc:sldMkLst>
      </pc:sldChg>
      <pc:sldChg chg="del">
        <pc:chgData name="Balkova, Olga" userId="0404fbcc-66e0-402d-b9dc-da8de3375cd8" providerId="ADAL" clId="{EC3E7CA9-0629-4B00-9952-B9B1F89FFF93}" dt="2025-04-08T11:05:04.861" v="2767" actId="47"/>
        <pc:sldMkLst>
          <pc:docMk/>
          <pc:sldMk cId="2306115856" sldId="3653"/>
        </pc:sldMkLst>
      </pc:sldChg>
      <pc:sldChg chg="del">
        <pc:chgData name="Balkova, Olga" userId="0404fbcc-66e0-402d-b9dc-da8de3375cd8" providerId="ADAL" clId="{EC3E7CA9-0629-4B00-9952-B9B1F89FFF93}" dt="2025-04-08T11:10:03.503" v="2794" actId="47"/>
        <pc:sldMkLst>
          <pc:docMk/>
          <pc:sldMk cId="1758620260" sldId="3654"/>
        </pc:sldMkLst>
      </pc:sldChg>
      <pc:sldChg chg="ord">
        <pc:chgData name="Balkova, Olga" userId="0404fbcc-66e0-402d-b9dc-da8de3375cd8" providerId="ADAL" clId="{EC3E7CA9-0629-4B00-9952-B9B1F89FFF93}" dt="2025-04-08T12:33:38.715" v="3343"/>
        <pc:sldMkLst>
          <pc:docMk/>
          <pc:sldMk cId="1766055615" sldId="3655"/>
        </pc:sldMkLst>
      </pc:sldChg>
      <pc:sldChg chg="del">
        <pc:chgData name="Balkova, Olga" userId="0404fbcc-66e0-402d-b9dc-da8de3375cd8" providerId="ADAL" clId="{EC3E7CA9-0629-4B00-9952-B9B1F89FFF93}" dt="2025-04-08T11:09:22.643" v="2787" actId="47"/>
        <pc:sldMkLst>
          <pc:docMk/>
          <pc:sldMk cId="2837008211" sldId="3656"/>
        </pc:sldMkLst>
      </pc:sldChg>
      <pc:sldChg chg="del">
        <pc:chgData name="Balkova, Olga" userId="0404fbcc-66e0-402d-b9dc-da8de3375cd8" providerId="ADAL" clId="{EC3E7CA9-0629-4B00-9952-B9B1F89FFF93}" dt="2025-04-08T11:05:03.164" v="2766" actId="47"/>
        <pc:sldMkLst>
          <pc:docMk/>
          <pc:sldMk cId="1537846041" sldId="3657"/>
        </pc:sldMkLst>
      </pc:sldChg>
      <pc:sldChg chg="addSp delSp modSp mod ord modAnim">
        <pc:chgData name="Balkova, Olga" userId="0404fbcc-66e0-402d-b9dc-da8de3375cd8" providerId="ADAL" clId="{EC3E7CA9-0629-4B00-9952-B9B1F89FFF93}" dt="2025-04-08T18:21:52.394" v="4055"/>
        <pc:sldMkLst>
          <pc:docMk/>
          <pc:sldMk cId="2070845658" sldId="3660"/>
        </pc:sldMkLst>
        <pc:spChg chg="add mod">
          <ac:chgData name="Balkova, Olga" userId="0404fbcc-66e0-402d-b9dc-da8de3375cd8" providerId="ADAL" clId="{EC3E7CA9-0629-4B00-9952-B9B1F89FFF93}" dt="2025-04-08T18:21:47.016" v="4054" actId="1076"/>
          <ac:spMkLst>
            <pc:docMk/>
            <pc:sldMk cId="2070845658" sldId="3660"/>
            <ac:spMk id="4" creationId="{2C734E63-EF7E-3126-35D2-560A2ACE5983}"/>
          </ac:spMkLst>
        </pc:spChg>
        <pc:spChg chg="add del mod">
          <ac:chgData name="Balkova, Olga" userId="0404fbcc-66e0-402d-b9dc-da8de3375cd8" providerId="ADAL" clId="{EC3E7CA9-0629-4B00-9952-B9B1F89FFF93}" dt="2025-04-08T18:21:18.195" v="4011" actId="478"/>
          <ac:spMkLst>
            <pc:docMk/>
            <pc:sldMk cId="2070845658" sldId="3660"/>
            <ac:spMk id="7" creationId="{224D3B6E-7286-3EBA-FC58-0A874268BDBF}"/>
          </ac:spMkLst>
        </pc:spChg>
        <pc:picChg chg="del">
          <ac:chgData name="Balkova, Olga" userId="0404fbcc-66e0-402d-b9dc-da8de3375cd8" providerId="ADAL" clId="{EC3E7CA9-0629-4B00-9952-B9B1F89FFF93}" dt="2025-04-08T11:19:07.249" v="2830" actId="478"/>
          <ac:picMkLst>
            <pc:docMk/>
            <pc:sldMk cId="2070845658" sldId="3660"/>
            <ac:picMk id="3" creationId="{56DE2E77-AEA2-A579-60AC-8AB903DF36A4}"/>
          </ac:picMkLst>
        </pc:picChg>
        <pc:picChg chg="add mod">
          <ac:chgData name="Balkova, Olga" userId="0404fbcc-66e0-402d-b9dc-da8de3375cd8" providerId="ADAL" clId="{EC3E7CA9-0629-4B00-9952-B9B1F89FFF93}" dt="2025-04-08T13:32:03.475" v="3904"/>
          <ac:picMkLst>
            <pc:docMk/>
            <pc:sldMk cId="2070845658" sldId="3660"/>
            <ac:picMk id="3" creationId="{9479E9AB-0D47-7B06-8FB7-384178566909}"/>
          </ac:picMkLst>
        </pc:picChg>
        <pc:picChg chg="add mod">
          <ac:chgData name="Balkova, Olga" userId="0404fbcc-66e0-402d-b9dc-da8de3375cd8" providerId="ADAL" clId="{EC3E7CA9-0629-4B00-9952-B9B1F89FFF93}" dt="2025-04-08T11:21:16.663" v="2838" actId="1076"/>
          <ac:picMkLst>
            <pc:docMk/>
            <pc:sldMk cId="2070845658" sldId="3660"/>
            <ac:picMk id="5" creationId="{DB50B75C-1554-BDBD-C719-30ED01E593BE}"/>
          </ac:picMkLst>
        </pc:picChg>
      </pc:sldChg>
      <pc:sldChg chg="del">
        <pc:chgData name="Balkova, Olga" userId="0404fbcc-66e0-402d-b9dc-da8de3375cd8" providerId="ADAL" clId="{EC3E7CA9-0629-4B00-9952-B9B1F89FFF93}" dt="2025-04-08T11:12:39.457" v="2808" actId="47"/>
        <pc:sldMkLst>
          <pc:docMk/>
          <pc:sldMk cId="1269987132" sldId="3664"/>
        </pc:sldMkLst>
      </pc:sldChg>
      <pc:sldChg chg="addSp modSp del mod">
        <pc:chgData name="Balkova, Olga" userId="0404fbcc-66e0-402d-b9dc-da8de3375cd8" providerId="ADAL" clId="{EC3E7CA9-0629-4B00-9952-B9B1F89FFF93}" dt="2025-04-08T11:12:41.494" v="2809" actId="47"/>
        <pc:sldMkLst>
          <pc:docMk/>
          <pc:sldMk cId="2860230793" sldId="3665"/>
        </pc:sldMkLst>
        <pc:cxnChg chg="add mod">
          <ac:chgData name="Balkova, Olga" userId="0404fbcc-66e0-402d-b9dc-da8de3375cd8" providerId="ADAL" clId="{EC3E7CA9-0629-4B00-9952-B9B1F89FFF93}" dt="2025-04-08T11:06:55.400" v="2778" actId="1582"/>
          <ac:cxnSpMkLst>
            <pc:docMk/>
            <pc:sldMk cId="2860230793" sldId="3665"/>
            <ac:cxnSpMk id="4" creationId="{F36BBC69-E6C6-3714-8290-CE1D5EBB9E58}"/>
          </ac:cxnSpMkLst>
        </pc:cxnChg>
      </pc:sldChg>
      <pc:sldChg chg="del">
        <pc:chgData name="Balkova, Olga" userId="0404fbcc-66e0-402d-b9dc-da8de3375cd8" providerId="ADAL" clId="{EC3E7CA9-0629-4B00-9952-B9B1F89FFF93}" dt="2025-04-08T11:10:19.095" v="2795" actId="47"/>
        <pc:sldMkLst>
          <pc:docMk/>
          <pc:sldMk cId="4029821456" sldId="3666"/>
        </pc:sldMkLst>
      </pc:sldChg>
      <pc:sldChg chg="del">
        <pc:chgData name="Balkova, Olga" userId="0404fbcc-66e0-402d-b9dc-da8de3375cd8" providerId="ADAL" clId="{EC3E7CA9-0629-4B00-9952-B9B1F89FFF93}" dt="2025-04-08T11:10:36.195" v="2797" actId="47"/>
        <pc:sldMkLst>
          <pc:docMk/>
          <pc:sldMk cId="3150950511" sldId="3667"/>
        </pc:sldMkLst>
      </pc:sldChg>
      <pc:sldChg chg="del">
        <pc:chgData name="Balkova, Olga" userId="0404fbcc-66e0-402d-b9dc-da8de3375cd8" providerId="ADAL" clId="{EC3E7CA9-0629-4B00-9952-B9B1F89FFF93}" dt="2025-04-08T11:14:33.959" v="2825" actId="47"/>
        <pc:sldMkLst>
          <pc:docMk/>
          <pc:sldMk cId="3458117155" sldId="3669"/>
        </pc:sldMkLst>
      </pc:sldChg>
      <pc:sldChg chg="del">
        <pc:chgData name="Balkova, Olga" userId="0404fbcc-66e0-402d-b9dc-da8de3375cd8" providerId="ADAL" clId="{EC3E7CA9-0629-4B00-9952-B9B1F89FFF93}" dt="2025-04-08T11:14:35.847" v="2826" actId="47"/>
        <pc:sldMkLst>
          <pc:docMk/>
          <pc:sldMk cId="1519216852" sldId="3670"/>
        </pc:sldMkLst>
      </pc:sldChg>
      <pc:sldChg chg="del">
        <pc:chgData name="Balkova, Olga" userId="0404fbcc-66e0-402d-b9dc-da8de3375cd8" providerId="ADAL" clId="{EC3E7CA9-0629-4B00-9952-B9B1F89FFF93}" dt="2025-04-08T11:14:38.368" v="2828" actId="47"/>
        <pc:sldMkLst>
          <pc:docMk/>
          <pc:sldMk cId="1957721686" sldId="3671"/>
        </pc:sldMkLst>
      </pc:sldChg>
      <pc:sldChg chg="del">
        <pc:chgData name="Balkova, Olga" userId="0404fbcc-66e0-402d-b9dc-da8de3375cd8" providerId="ADAL" clId="{EC3E7CA9-0629-4B00-9952-B9B1F89FFF93}" dt="2025-04-08T11:14:39.281" v="2829" actId="47"/>
        <pc:sldMkLst>
          <pc:docMk/>
          <pc:sldMk cId="4182736440" sldId="3673"/>
        </pc:sldMkLst>
      </pc:sldChg>
      <pc:sldChg chg="addSp modSp mod modAnim">
        <pc:chgData name="Balkova, Olga" userId="0404fbcc-66e0-402d-b9dc-da8de3375cd8" providerId="ADAL" clId="{EC3E7CA9-0629-4B00-9952-B9B1F89FFF93}" dt="2025-04-08T12:57:27.348" v="3681" actId="6549"/>
        <pc:sldMkLst>
          <pc:docMk/>
          <pc:sldMk cId="2574400852" sldId="3675"/>
        </pc:sldMkLst>
        <pc:spChg chg="mod">
          <ac:chgData name="Balkova, Olga" userId="0404fbcc-66e0-402d-b9dc-da8de3375cd8" providerId="ADAL" clId="{EC3E7CA9-0629-4B00-9952-B9B1F89FFF93}" dt="2025-04-08T11:25:33.110" v="2943" actId="1076"/>
          <ac:spMkLst>
            <pc:docMk/>
            <pc:sldMk cId="2574400852" sldId="3675"/>
            <ac:spMk id="4" creationId="{CCA25D0B-08D8-FF33-F814-38F4C6D465D9}"/>
          </ac:spMkLst>
        </pc:spChg>
        <pc:spChg chg="add mod">
          <ac:chgData name="Balkova, Olga" userId="0404fbcc-66e0-402d-b9dc-da8de3375cd8" providerId="ADAL" clId="{EC3E7CA9-0629-4B00-9952-B9B1F89FFF93}" dt="2025-04-08T12:57:21.236" v="3678" actId="20577"/>
          <ac:spMkLst>
            <pc:docMk/>
            <pc:sldMk cId="2574400852" sldId="3675"/>
            <ac:spMk id="8" creationId="{B241C3C5-0BA2-4600-7783-4B3EE4D59C39}"/>
          </ac:spMkLst>
        </pc:spChg>
        <pc:spChg chg="add mod">
          <ac:chgData name="Balkova, Olga" userId="0404fbcc-66e0-402d-b9dc-da8de3375cd8" providerId="ADAL" clId="{EC3E7CA9-0629-4B00-9952-B9B1F89FFF93}" dt="2025-04-08T12:42:36.230" v="3494" actId="20577"/>
          <ac:spMkLst>
            <pc:docMk/>
            <pc:sldMk cId="2574400852" sldId="3675"/>
            <ac:spMk id="10" creationId="{D83FF6F6-1E42-BE0C-EDB9-727F1B8DAF29}"/>
          </ac:spMkLst>
        </pc:spChg>
        <pc:spChg chg="add mod">
          <ac:chgData name="Balkova, Olga" userId="0404fbcc-66e0-402d-b9dc-da8de3375cd8" providerId="ADAL" clId="{EC3E7CA9-0629-4B00-9952-B9B1F89FFF93}" dt="2025-04-08T12:57:27.348" v="3681" actId="6549"/>
          <ac:spMkLst>
            <pc:docMk/>
            <pc:sldMk cId="2574400852" sldId="3675"/>
            <ac:spMk id="12" creationId="{738C3D90-2A12-FACB-AA03-ECF6E8D8309F}"/>
          </ac:spMkLst>
        </pc:spChg>
        <pc:graphicFrameChg chg="mod">
          <ac:chgData name="Balkova, Olga" userId="0404fbcc-66e0-402d-b9dc-da8de3375cd8" providerId="ADAL" clId="{EC3E7CA9-0629-4B00-9952-B9B1F89FFF93}" dt="2025-04-08T11:23:45.591" v="2857" actId="1076"/>
          <ac:graphicFrameMkLst>
            <pc:docMk/>
            <pc:sldMk cId="2574400852" sldId="3675"/>
            <ac:graphicFrameMk id="3" creationId="{E86C83A2-BF43-0FB8-AD1A-2732CBE3E566}"/>
          </ac:graphicFrameMkLst>
        </pc:graphicFrameChg>
        <pc:picChg chg="add mod">
          <ac:chgData name="Balkova, Olga" userId="0404fbcc-66e0-402d-b9dc-da8de3375cd8" providerId="ADAL" clId="{EC3E7CA9-0629-4B00-9952-B9B1F89FFF93}" dt="2025-04-08T11:28:36.158" v="3298" actId="1076"/>
          <ac:picMkLst>
            <pc:docMk/>
            <pc:sldMk cId="2574400852" sldId="3675"/>
            <ac:picMk id="6" creationId="{12AE467B-83B1-DF94-124E-A553E894B37C}"/>
          </ac:picMkLst>
        </pc:picChg>
      </pc:sldChg>
      <pc:sldChg chg="addSp delSp modSp new mod modClrScheme modAnim chgLayout">
        <pc:chgData name="Balkova, Olga" userId="0404fbcc-66e0-402d-b9dc-da8de3375cd8" providerId="ADAL" clId="{EC3E7CA9-0629-4B00-9952-B9B1F89FFF93}" dt="2025-04-08T18:26:53.544" v="4093"/>
        <pc:sldMkLst>
          <pc:docMk/>
          <pc:sldMk cId="1537331821" sldId="3676"/>
        </pc:sldMkLst>
        <pc:spChg chg="del mod ord">
          <ac:chgData name="Balkova, Olga" userId="0404fbcc-66e0-402d-b9dc-da8de3375cd8" providerId="ADAL" clId="{EC3E7CA9-0629-4B00-9952-B9B1F89FFF93}" dt="2025-04-08T09:36:49.613" v="63" actId="700"/>
          <ac:spMkLst>
            <pc:docMk/>
            <pc:sldMk cId="1537331821" sldId="3676"/>
            <ac:spMk id="2" creationId="{F369B63B-AE57-603D-9DB0-4045626F1F6D}"/>
          </ac:spMkLst>
        </pc:spChg>
        <pc:spChg chg="add mod ord">
          <ac:chgData name="Balkova, Olga" userId="0404fbcc-66e0-402d-b9dc-da8de3375cd8" providerId="ADAL" clId="{EC3E7CA9-0629-4B00-9952-B9B1F89FFF93}" dt="2025-04-08T09:42:53.787" v="166" actId="6549"/>
          <ac:spMkLst>
            <pc:docMk/>
            <pc:sldMk cId="1537331821" sldId="3676"/>
            <ac:spMk id="3" creationId="{001F8555-1F3A-7A28-4615-DAE6BCC9747A}"/>
          </ac:spMkLst>
        </pc:spChg>
        <pc:spChg chg="add mod ord">
          <ac:chgData name="Balkova, Olga" userId="0404fbcc-66e0-402d-b9dc-da8de3375cd8" providerId="ADAL" clId="{EC3E7CA9-0629-4B00-9952-B9B1F89FFF93}" dt="2025-04-08T18:18:07.678" v="3999" actId="207"/>
          <ac:spMkLst>
            <pc:docMk/>
            <pc:sldMk cId="1537331821" sldId="3676"/>
            <ac:spMk id="4" creationId="{D1F583A3-188C-C4B1-73BC-C5FFF5F53BB7}"/>
          </ac:spMkLst>
        </pc:spChg>
        <pc:spChg chg="add mod">
          <ac:chgData name="Balkova, Olga" userId="0404fbcc-66e0-402d-b9dc-da8de3375cd8" providerId="ADAL" clId="{EC3E7CA9-0629-4B00-9952-B9B1F89FFF93}" dt="2025-04-08T18:24:03.698" v="4086" actId="1076"/>
          <ac:spMkLst>
            <pc:docMk/>
            <pc:sldMk cId="1537331821" sldId="3676"/>
            <ac:spMk id="5" creationId="{75DD0C58-2761-4116-D268-886A50187944}"/>
          </ac:spMkLst>
        </pc:spChg>
        <pc:spChg chg="add mod">
          <ac:chgData name="Balkova, Olga" userId="0404fbcc-66e0-402d-b9dc-da8de3375cd8" providerId="ADAL" clId="{EC3E7CA9-0629-4B00-9952-B9B1F89FFF93}" dt="2025-04-08T18:18:59.974" v="4003" actId="20577"/>
          <ac:spMkLst>
            <pc:docMk/>
            <pc:sldMk cId="1537331821" sldId="3676"/>
            <ac:spMk id="6" creationId="{E5BF32F1-3BAE-7D00-EA02-E5D2C271DB19}"/>
          </ac:spMkLst>
        </pc:spChg>
      </pc:sldChg>
      <pc:sldChg chg="addSp delSp modSp new mod modShow">
        <pc:chgData name="Balkova, Olga" userId="0404fbcc-66e0-402d-b9dc-da8de3375cd8" providerId="ADAL" clId="{EC3E7CA9-0629-4B00-9952-B9B1F89FFF93}" dt="2025-04-08T11:03:08.769" v="2765" actId="729"/>
        <pc:sldMkLst>
          <pc:docMk/>
          <pc:sldMk cId="428590749" sldId="3677"/>
        </pc:sldMkLst>
        <pc:spChg chg="del">
          <ac:chgData name="Balkova, Olga" userId="0404fbcc-66e0-402d-b9dc-da8de3375cd8" providerId="ADAL" clId="{EC3E7CA9-0629-4B00-9952-B9B1F89FFF93}" dt="2025-04-08T11:00:44.045" v="2727" actId="478"/>
          <ac:spMkLst>
            <pc:docMk/>
            <pc:sldMk cId="428590749" sldId="3677"/>
            <ac:spMk id="2" creationId="{3D1A9AE9-DD59-4B52-D5CC-386D81934370}"/>
          </ac:spMkLst>
        </pc:spChg>
        <pc:spChg chg="del mod">
          <ac:chgData name="Balkova, Olga" userId="0404fbcc-66e0-402d-b9dc-da8de3375cd8" providerId="ADAL" clId="{EC3E7CA9-0629-4B00-9952-B9B1F89FFF93}" dt="2025-04-08T11:01:51.733" v="2729" actId="478"/>
          <ac:spMkLst>
            <pc:docMk/>
            <pc:sldMk cId="428590749" sldId="3677"/>
            <ac:spMk id="3" creationId="{1DFA98C5-FDAF-8C78-FEE4-1C83CEE85F59}"/>
          </ac:spMkLst>
        </pc:spChg>
        <pc:spChg chg="add del mod">
          <ac:chgData name="Balkova, Olga" userId="0404fbcc-66e0-402d-b9dc-da8de3375cd8" providerId="ADAL" clId="{EC3E7CA9-0629-4B00-9952-B9B1F89FFF93}" dt="2025-04-08T11:01:53.314" v="2730" actId="478"/>
          <ac:spMkLst>
            <pc:docMk/>
            <pc:sldMk cId="428590749" sldId="3677"/>
            <ac:spMk id="7" creationId="{2475D507-52E9-F985-C91B-8A6BA872AE23}"/>
          </ac:spMkLst>
        </pc:spChg>
        <pc:picChg chg="add">
          <ac:chgData name="Balkova, Olga" userId="0404fbcc-66e0-402d-b9dc-da8de3375cd8" providerId="ADAL" clId="{EC3E7CA9-0629-4B00-9952-B9B1F89FFF93}" dt="2025-04-08T11:01:47.366" v="2728" actId="22"/>
          <ac:picMkLst>
            <pc:docMk/>
            <pc:sldMk cId="428590749" sldId="3677"/>
            <ac:picMk id="5" creationId="{6435654E-04A3-6B53-9560-877C69D4129E}"/>
          </ac:picMkLst>
        </pc:picChg>
      </pc:sldChg>
      <pc:sldChg chg="addSp modSp new mod modShow">
        <pc:chgData name="Balkova, Olga" userId="0404fbcc-66e0-402d-b9dc-da8de3375cd8" providerId="ADAL" clId="{EC3E7CA9-0629-4B00-9952-B9B1F89FFF93}" dt="2025-04-08T12:36:24.250" v="3362" actId="729"/>
        <pc:sldMkLst>
          <pc:docMk/>
          <pc:sldMk cId="1560131776" sldId="3678"/>
        </pc:sldMkLst>
        <pc:spChg chg="add mod">
          <ac:chgData name="Balkova, Olga" userId="0404fbcc-66e0-402d-b9dc-da8de3375cd8" providerId="ADAL" clId="{EC3E7CA9-0629-4B00-9952-B9B1F89FFF93}" dt="2025-04-08T11:02:57.263" v="2764" actId="403"/>
          <ac:spMkLst>
            <pc:docMk/>
            <pc:sldMk cId="1560131776" sldId="3678"/>
            <ac:spMk id="2" creationId="{0B365A82-8CCE-9B1D-8471-7D20D0E933C6}"/>
          </ac:spMkLst>
        </pc:spChg>
      </pc:sldChg>
      <pc:sldChg chg="addSp delSp modSp new mod ord">
        <pc:chgData name="Balkova, Olga" userId="0404fbcc-66e0-402d-b9dc-da8de3375cd8" providerId="ADAL" clId="{EC3E7CA9-0629-4B00-9952-B9B1F89FFF93}" dt="2025-04-08T13:10:25.665" v="3837" actId="1076"/>
        <pc:sldMkLst>
          <pc:docMk/>
          <pc:sldMk cId="3994465028" sldId="3679"/>
        </pc:sldMkLst>
        <pc:spChg chg="del">
          <ac:chgData name="Balkova, Olga" userId="0404fbcc-66e0-402d-b9dc-da8de3375cd8" providerId="ADAL" clId="{EC3E7CA9-0629-4B00-9952-B9B1F89FFF93}" dt="2025-04-08T12:51:23.819" v="3496" actId="478"/>
          <ac:spMkLst>
            <pc:docMk/>
            <pc:sldMk cId="3994465028" sldId="3679"/>
            <ac:spMk id="2" creationId="{2511D824-027B-6376-AE6D-E123E7A2630B}"/>
          </ac:spMkLst>
        </pc:spChg>
        <pc:spChg chg="add mod">
          <ac:chgData name="Balkova, Olga" userId="0404fbcc-66e0-402d-b9dc-da8de3375cd8" providerId="ADAL" clId="{EC3E7CA9-0629-4B00-9952-B9B1F89FFF93}" dt="2025-04-08T13:10:25.665" v="3837" actId="1076"/>
          <ac:spMkLst>
            <pc:docMk/>
            <pc:sldMk cId="3994465028" sldId="3679"/>
            <ac:spMk id="7" creationId="{4ECBCAC4-657B-4FFF-ACE2-48612535B4F1}"/>
          </ac:spMkLst>
        </pc:spChg>
        <pc:spChg chg="add mod">
          <ac:chgData name="Balkova, Olga" userId="0404fbcc-66e0-402d-b9dc-da8de3375cd8" providerId="ADAL" clId="{EC3E7CA9-0629-4B00-9952-B9B1F89FFF93}" dt="2025-04-08T12:56:50.525" v="3673" actId="2085"/>
          <ac:spMkLst>
            <pc:docMk/>
            <pc:sldMk cId="3994465028" sldId="3679"/>
            <ac:spMk id="8" creationId="{2320DBFA-6F80-1AD1-D47E-DD74562B85DB}"/>
          </ac:spMkLst>
        </pc:spChg>
        <pc:spChg chg="add mod">
          <ac:chgData name="Balkova, Olga" userId="0404fbcc-66e0-402d-b9dc-da8de3375cd8" providerId="ADAL" clId="{EC3E7CA9-0629-4B00-9952-B9B1F89FFF93}" dt="2025-04-08T12:56:58.055" v="3675" actId="1076"/>
          <ac:spMkLst>
            <pc:docMk/>
            <pc:sldMk cId="3994465028" sldId="3679"/>
            <ac:spMk id="9" creationId="{F2F0D071-9259-0D49-E9DF-085077EC8227}"/>
          </ac:spMkLst>
        </pc:spChg>
        <pc:picChg chg="add del mod">
          <ac:chgData name="Balkova, Olga" userId="0404fbcc-66e0-402d-b9dc-da8de3375cd8" providerId="ADAL" clId="{EC3E7CA9-0629-4B00-9952-B9B1F89FFF93}" dt="2025-04-08T13:08:14.688" v="3751" actId="478"/>
          <ac:picMkLst>
            <pc:docMk/>
            <pc:sldMk cId="3994465028" sldId="3679"/>
            <ac:picMk id="4" creationId="{5B94B98E-D0EF-BF95-B1ED-292525B509A5}"/>
          </ac:picMkLst>
        </pc:picChg>
        <pc:picChg chg="add mod">
          <ac:chgData name="Balkova, Olga" userId="0404fbcc-66e0-402d-b9dc-da8de3375cd8" providerId="ADAL" clId="{EC3E7CA9-0629-4B00-9952-B9B1F89FFF93}" dt="2025-04-08T12:53:42.674" v="3501"/>
          <ac:picMkLst>
            <pc:docMk/>
            <pc:sldMk cId="3994465028" sldId="3679"/>
            <ac:picMk id="5" creationId="{581EAF08-1DDA-6F9C-FB4C-638A638A5DF3}"/>
          </ac:picMkLst>
        </pc:picChg>
        <pc:picChg chg="add mod">
          <ac:chgData name="Balkova, Olga" userId="0404fbcc-66e0-402d-b9dc-da8de3375cd8" providerId="ADAL" clId="{EC3E7CA9-0629-4B00-9952-B9B1F89FFF93}" dt="2025-04-08T13:10:22.495" v="3836" actId="1038"/>
          <ac:picMkLst>
            <pc:docMk/>
            <pc:sldMk cId="3994465028" sldId="3679"/>
            <ac:picMk id="11" creationId="{B30EFEB2-16E2-8B29-9EA5-1919F38A7E7F}"/>
          </ac:picMkLst>
        </pc:picChg>
        <pc:picChg chg="add mod">
          <ac:chgData name="Balkova, Olga" userId="0404fbcc-66e0-402d-b9dc-da8de3375cd8" providerId="ADAL" clId="{EC3E7CA9-0629-4B00-9952-B9B1F89FFF93}" dt="2025-04-08T13:10:15.117" v="3811" actId="1037"/>
          <ac:picMkLst>
            <pc:docMk/>
            <pc:sldMk cId="3994465028" sldId="3679"/>
            <ac:picMk id="13" creationId="{D3BDEF8C-3778-AE01-6DA7-3CEB38F073C4}"/>
          </ac:picMkLst>
        </pc:picChg>
      </pc:sldChg>
      <pc:sldChg chg="delSp new del mod">
        <pc:chgData name="Balkova, Olga" userId="0404fbcc-66e0-402d-b9dc-da8de3375cd8" providerId="ADAL" clId="{EC3E7CA9-0629-4B00-9952-B9B1F89FFF93}" dt="2025-04-08T12:58:04.585" v="3682" actId="47"/>
        <pc:sldMkLst>
          <pc:docMk/>
          <pc:sldMk cId="1693155339" sldId="3680"/>
        </pc:sldMkLst>
        <pc:spChg chg="del">
          <ac:chgData name="Balkova, Olga" userId="0404fbcc-66e0-402d-b9dc-da8de3375cd8" providerId="ADAL" clId="{EC3E7CA9-0629-4B00-9952-B9B1F89FFF93}" dt="2025-04-08T12:56:32.663" v="3669" actId="478"/>
          <ac:spMkLst>
            <pc:docMk/>
            <pc:sldMk cId="1693155339" sldId="3680"/>
            <ac:spMk id="2" creationId="{016B0D14-E1C9-09C1-F2FE-07A9C23EC572}"/>
          </ac:spMkLst>
        </pc:spChg>
        <pc:spChg chg="del">
          <ac:chgData name="Balkova, Olga" userId="0404fbcc-66e0-402d-b9dc-da8de3375cd8" providerId="ADAL" clId="{EC3E7CA9-0629-4B00-9952-B9B1F89FFF93}" dt="2025-04-08T12:56:31.380" v="3668" actId="478"/>
          <ac:spMkLst>
            <pc:docMk/>
            <pc:sldMk cId="1693155339" sldId="3680"/>
            <ac:spMk id="3" creationId="{B8935BA8-40A3-39FA-B81D-2CEE37D33B6F}"/>
          </ac:spMkLst>
        </pc:spChg>
      </pc:sldChg>
      <pc:sldChg chg="delSp modSp add mod modTransition delAnim modAnim">
        <pc:chgData name="Balkova, Olga" userId="0404fbcc-66e0-402d-b9dc-da8de3375cd8" providerId="ADAL" clId="{EC3E7CA9-0629-4B00-9952-B9B1F89FFF93}" dt="2025-04-08T18:20:57.093" v="4007" actId="20577"/>
        <pc:sldMkLst>
          <pc:docMk/>
          <pc:sldMk cId="1994276886" sldId="3680"/>
        </pc:sldMkLst>
        <pc:spChg chg="mod">
          <ac:chgData name="Balkova, Olga" userId="0404fbcc-66e0-402d-b9dc-da8de3375cd8" providerId="ADAL" clId="{EC3E7CA9-0629-4B00-9952-B9B1F89FFF93}" dt="2025-04-08T18:20:57.093" v="4007" actId="20577"/>
          <ac:spMkLst>
            <pc:docMk/>
            <pc:sldMk cId="1994276886" sldId="3680"/>
            <ac:spMk id="4" creationId="{59FDC8FE-C10D-2F55-5202-E74500BD2451}"/>
          </ac:spMkLst>
        </pc:spChg>
        <pc:spChg chg="del">
          <ac:chgData name="Balkova, Olga" userId="0404fbcc-66e0-402d-b9dc-da8de3375cd8" providerId="ADAL" clId="{EC3E7CA9-0629-4B00-9952-B9B1F89FFF93}" dt="2025-04-08T13:07:01.738" v="3748" actId="478"/>
          <ac:spMkLst>
            <pc:docMk/>
            <pc:sldMk cId="1994276886" sldId="3680"/>
            <ac:spMk id="16" creationId="{56BDA271-246A-44B6-8C4A-CC5A18066E45}"/>
          </ac:spMkLst>
        </pc:spChg>
        <pc:spChg chg="del">
          <ac:chgData name="Balkova, Olga" userId="0404fbcc-66e0-402d-b9dc-da8de3375cd8" providerId="ADAL" clId="{EC3E7CA9-0629-4B00-9952-B9B1F89FFF93}" dt="2025-04-08T13:06:59.967" v="3747" actId="478"/>
          <ac:spMkLst>
            <pc:docMk/>
            <pc:sldMk cId="1994276886" sldId="3680"/>
            <ac:spMk id="20" creationId="{42E2803D-900A-FB25-BEFD-CBEF27598328}"/>
          </ac:spMkLst>
        </pc:spChg>
      </pc:sldChg>
      <pc:sldChg chg="modSp add mod modTransition modAnim">
        <pc:chgData name="Balkova, Olga" userId="0404fbcc-66e0-402d-b9dc-da8de3375cd8" providerId="ADAL" clId="{EC3E7CA9-0629-4B00-9952-B9B1F89FFF93}" dt="2025-04-08T18:21:03.693" v="4008" actId="20577"/>
        <pc:sldMkLst>
          <pc:docMk/>
          <pc:sldMk cId="3080140291" sldId="3681"/>
        </pc:sldMkLst>
        <pc:spChg chg="mod">
          <ac:chgData name="Balkova, Olga" userId="0404fbcc-66e0-402d-b9dc-da8de3375cd8" providerId="ADAL" clId="{EC3E7CA9-0629-4B00-9952-B9B1F89FFF93}" dt="2025-04-08T18:21:03.693" v="4008" actId="20577"/>
          <ac:spMkLst>
            <pc:docMk/>
            <pc:sldMk cId="3080140291" sldId="3681"/>
            <ac:spMk id="4" creationId="{59FDC8FE-C10D-2F55-5202-E74500BD2451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A2577D-8663-43A1-AFE7-37087ADF1C02}" type="datetimeFigureOut">
              <a:rPr lang="de-DE" smtClean="0"/>
              <a:t>08.04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971CE9-A0D0-47B5-BE4D-3A3ED6FDF67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7934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71CE9-A0D0-47B5-BE4D-3A3ED6FDF67F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9980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71CE9-A0D0-47B5-BE4D-3A3ED6FDF67F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6842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71CE9-A0D0-47B5-BE4D-3A3ED6FDF67F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99515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71CE9-A0D0-47B5-BE4D-3A3ED6FDF67F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095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71CE9-A0D0-47B5-BE4D-3A3ED6FDF67F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9447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71CE9-A0D0-47B5-BE4D-3A3ED6FDF67F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8305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84449" y="567279"/>
            <a:ext cx="11417063" cy="4855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6649" tIns="18659" rIns="46649" bIns="18659" rtlCol="0" anchor="t" anchorCtr="0"/>
          <a:lstStyle/>
          <a:p>
            <a:pPr algn="ctr"/>
            <a:endParaRPr lang="en-US" sz="1224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630562" y="5336134"/>
            <a:ext cx="10886385" cy="454137"/>
          </a:xfrm>
        </p:spPr>
        <p:txBody>
          <a:bodyPr lIns="0" tIns="0" rIns="0" bIns="0" anchor="ctr"/>
          <a:lstStyle>
            <a:lvl1pPr algn="l">
              <a:defRPr sz="2857" b="1" i="0" spc="-153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630562" y="5841416"/>
            <a:ext cx="10886385" cy="30868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Font typeface="Arial" charset="0"/>
              <a:buNone/>
              <a:defRPr sz="2041" b="1" i="0" smtClean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31" name="Group 30" hidden="1"/>
          <p:cNvGrpSpPr/>
          <p:nvPr/>
        </p:nvGrpSpPr>
        <p:grpSpPr>
          <a:xfrm>
            <a:off x="630562" y="1622132"/>
            <a:ext cx="10886385" cy="3120640"/>
            <a:chOff x="1486762" y="1589840"/>
            <a:chExt cx="8001777" cy="3058516"/>
          </a:xfrm>
        </p:grpSpPr>
        <p:pic>
          <p:nvPicPr>
            <p:cNvPr id="32" name="Picture 31"/>
            <p:cNvPicPr>
              <a:picLocks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89" t="1995" r="27589" b="2103"/>
            <a:stretch/>
          </p:blipFill>
          <p:spPr>
            <a:xfrm>
              <a:off x="3506735" y="1590827"/>
              <a:ext cx="1947672" cy="305409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79" t="316" r="26012" b="1354"/>
            <a:stretch/>
          </p:blipFill>
          <p:spPr>
            <a:xfrm>
              <a:off x="1486762" y="1590827"/>
              <a:ext cx="1947672" cy="3057529"/>
            </a:xfrm>
            <a:prstGeom prst="rect">
              <a:avLst/>
            </a:prstGeom>
          </p:spPr>
        </p:pic>
        <p:pic>
          <p:nvPicPr>
            <p:cNvPr id="34" name="Picture 33"/>
            <p:cNvPicPr preferRelativeResize="0">
              <a:picLocks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83" t="705" r="41310" b="1955"/>
            <a:stretch/>
          </p:blipFill>
          <p:spPr>
            <a:xfrm>
              <a:off x="7540867" y="1589840"/>
              <a:ext cx="1947672" cy="3054096"/>
            </a:xfrm>
            <a:prstGeom prst="rect">
              <a:avLst/>
            </a:prstGeom>
          </p:spPr>
        </p:pic>
      </p:grpSp>
      <p:pic>
        <p:nvPicPr>
          <p:cNvPr id="11" name="Picture 1059" descr="C:\Users\lalexander\Desktop\iStock_16420157_LARGE.JPG" hidden="1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2" t="34341" r="4474" b="16594"/>
          <a:stretch/>
        </p:blipFill>
        <p:spPr bwMode="auto">
          <a:xfrm>
            <a:off x="6133105" y="1625639"/>
            <a:ext cx="2624512" cy="311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ver"/>
          <p:cNvSpPr/>
          <p:nvPr/>
        </p:nvSpPr>
        <p:spPr>
          <a:xfrm>
            <a:off x="9309764" y="6305669"/>
            <a:ext cx="2384405" cy="38873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6649" tIns="18659" rIns="46649" bIns="18659" rtlCol="0" anchor="t" anchorCtr="0"/>
          <a:lstStyle/>
          <a:p>
            <a:pPr algn="ctr"/>
            <a:endParaRPr lang="en-US" sz="1224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-42026"/>
            <a:ext cx="12192000" cy="4973456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12" tIns="18284" rIns="45712" bIns="18284" rtlCol="0" anchor="t" anchorCtr="0"/>
          <a:lstStyle/>
          <a:p>
            <a:pPr algn="ctr"/>
            <a:endParaRPr lang="en-US" sz="1224" b="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6" name="Picture 3" descr="C:\Users\lainie.keller\Desktop\BAUSCH_HEALTH_LOGO_ONE_COLOR_WHITE25 percen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518" y="378241"/>
            <a:ext cx="11852383" cy="3631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77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  <p:extLst>
    <p:ext uri="{DCECCB84-F9BA-43D5-87BE-67443E8EF086}">
      <p15:sldGuideLst xmlns:p15="http://schemas.microsoft.com/office/powerpoint/2012/main">
        <p15:guide id="1" orient="horz" pos="2117" userDrawn="1">
          <p15:clr>
            <a:srgbClr val="FBAE40"/>
          </p15:clr>
        </p15:guide>
        <p15:guide id="2" pos="376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12" tIns="18284" rIns="45712" bIns="18284" rtlCol="0" anchor="t" anchorCtr="0"/>
          <a:lstStyle/>
          <a:p>
            <a:pPr algn="ctr"/>
            <a:endParaRPr lang="en-US" sz="1224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-42025"/>
            <a:ext cx="12192000" cy="3631030"/>
          </a:xfrm>
          <a:prstGeom prst="rect">
            <a:avLst/>
          </a:prstGeom>
          <a:solidFill>
            <a:srgbClr val="00B1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12" tIns="18284" rIns="45712" bIns="18284" rtlCol="0" anchor="t" anchorCtr="0"/>
          <a:lstStyle/>
          <a:p>
            <a:pPr algn="ctr"/>
            <a:endParaRPr lang="en-US" sz="1224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8435" name="Title Placeholder 1"/>
          <p:cNvSpPr>
            <a:spLocks noGrp="1"/>
          </p:cNvSpPr>
          <p:nvPr>
            <p:ph type="ctrTitle"/>
          </p:nvPr>
        </p:nvSpPr>
        <p:spPr>
          <a:xfrm>
            <a:off x="546102" y="2477512"/>
            <a:ext cx="11196337" cy="604457"/>
          </a:xfrm>
        </p:spPr>
        <p:txBody>
          <a:bodyPr lIns="0" tIns="0" rIns="0" bIns="0" anchor="t"/>
          <a:lstStyle>
            <a:lvl1pPr algn="l">
              <a:lnSpc>
                <a:spcPct val="125000"/>
              </a:lnSpc>
              <a:defRPr sz="2857" b="1" i="0" spc="-153"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436" name="Text Placeholder 2"/>
          <p:cNvSpPr>
            <a:spLocks noGrp="1"/>
          </p:cNvSpPr>
          <p:nvPr>
            <p:ph type="subTitle" idx="1"/>
          </p:nvPr>
        </p:nvSpPr>
        <p:spPr>
          <a:xfrm>
            <a:off x="546101" y="3130111"/>
            <a:ext cx="11219840" cy="41085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5000"/>
              </a:lnSpc>
              <a:buFont typeface="Arial" charset="0"/>
              <a:buNone/>
              <a:defRPr smtClean="0">
                <a:solidFill>
                  <a:schemeClr val="bg1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6102" y="6452352"/>
            <a:ext cx="673100" cy="249331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2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fld id="{76A368BE-FDEE-4903-A20C-61A80BB4BA46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Graphic 8" hidden="1">
            <a:extLst>
              <a:ext uri="{FF2B5EF4-FFF2-40B4-BE49-F238E27FC236}">
                <a16:creationId xmlns:a16="http://schemas.microsoft.com/office/drawing/2014/main" id="{E696A465-1A1E-1046-BDF0-FD166E7253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84077" y="6064328"/>
            <a:ext cx="3181865" cy="233243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B363C99-5792-3245-8D7D-F0D04B97E1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60108" y="6470983"/>
            <a:ext cx="1891973" cy="13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96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05884" y="1817113"/>
            <a:ext cx="11038416" cy="4227512"/>
          </a:xfr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spcBef>
                <a:spcPts val="0"/>
              </a:spcBef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6102" y="6452352"/>
            <a:ext cx="673100" cy="249331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2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fld id="{76A368BE-FDEE-4903-A20C-61A80BB4BA4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508000" y="283030"/>
            <a:ext cx="110236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57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57104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3" y="1121000"/>
            <a:ext cx="11036300" cy="511704"/>
          </a:xfrm>
        </p:spPr>
        <p:txBody>
          <a:bodyPr/>
          <a:lstStyle>
            <a:lvl1pPr marL="0" indent="0">
              <a:buNone/>
              <a:defRPr sz="2041" b="1" i="0">
                <a:solidFill>
                  <a:srgbClr val="494C4F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Sub-text</a:t>
            </a:r>
          </a:p>
        </p:txBody>
      </p:sp>
    </p:spTree>
    <p:extLst>
      <p:ext uri="{BB962C8B-B14F-4D97-AF65-F5344CB8AC3E}">
        <p14:creationId xmlns:p14="http://schemas.microsoft.com/office/powerpoint/2010/main" val="414943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94556" y="1118621"/>
            <a:ext cx="11053233" cy="5118100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494C4F"/>
                </a:solidFill>
              </a:defRPr>
            </a:lvl1pPr>
            <a:lvl2pPr>
              <a:lnSpc>
                <a:spcPct val="125000"/>
              </a:lnSpc>
              <a:defRPr>
                <a:solidFill>
                  <a:srgbClr val="494C4F"/>
                </a:solidFill>
              </a:defRPr>
            </a:lvl2pPr>
            <a:lvl3pPr>
              <a:lnSpc>
                <a:spcPct val="125000"/>
              </a:lnSpc>
              <a:defRPr>
                <a:solidFill>
                  <a:srgbClr val="494C4F"/>
                </a:solidFill>
              </a:defRPr>
            </a:lvl3pPr>
            <a:lvl4pPr>
              <a:lnSpc>
                <a:spcPct val="125000"/>
              </a:lnSpc>
              <a:defRPr>
                <a:solidFill>
                  <a:srgbClr val="494C4F"/>
                </a:solidFill>
              </a:defRPr>
            </a:lvl4pPr>
            <a:lvl5pPr>
              <a:lnSpc>
                <a:spcPct val="125000"/>
              </a:lnSpc>
              <a:defRPr>
                <a:solidFill>
                  <a:srgbClr val="494C4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6102" y="6452352"/>
            <a:ext cx="673100" cy="249331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2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pPr>
              <a:defRPr/>
            </a:pPr>
            <a:fld id="{DA0AEBB0-50D9-44AF-8C02-D8242043B2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508003" y="283030"/>
            <a:ext cx="110363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01" tIns="44802" rIns="89601" bIns="44802" numCol="1" anchor="ctr" anchorCtr="0" compatLnSpc="1">
            <a:prstTxWarp prst="textNoShape">
              <a:avLst/>
            </a:prstTxWarp>
          </a:bodyPr>
          <a:lstStyle>
            <a:lvl1pPr>
              <a:defRPr sz="2857"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pPr lvl="0" algn="l" defTabSz="457104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34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6102" y="6452352"/>
            <a:ext cx="673100" cy="249331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2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fld id="{76A368BE-FDEE-4903-A20C-61A80BB4BA46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D96BBA-81C8-431B-884B-7C78E8FE53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365870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D96BBA-81C8-431B-884B-7C78E8FE53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502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6102" y="6452352"/>
            <a:ext cx="673100" cy="249331"/>
          </a:xfrm>
          <a:prstGeom prst="rect">
            <a:avLst/>
          </a:prstGeom>
        </p:spPr>
        <p:txBody>
          <a:bodyPr vert="horz" wrap="square" lIns="89601" tIns="44802" rIns="89601" bIns="44802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20" b="0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fld id="{76A368BE-FDEE-4903-A20C-61A80BB4BA46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662976" y="1060204"/>
            <a:ext cx="10870741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662976" y="612267"/>
            <a:ext cx="10870741" cy="3012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6649" tIns="18659" rIns="46649" bIns="18659" rtlCol="0" anchor="t" anchorCtr="0"/>
          <a:lstStyle/>
          <a:p>
            <a:pPr algn="ctr"/>
            <a:endParaRPr lang="en-US" sz="1224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>
                <a:solidFill>
                  <a:srgbClr val="00B1EA"/>
                </a:solidFill>
                <a:latin typeface="Helvetica" pitchFamily="2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2 lines</a:t>
            </a:r>
          </a:p>
        </p:txBody>
      </p:sp>
    </p:spTree>
    <p:extLst>
      <p:ext uri="{BB962C8B-B14F-4D97-AF65-F5344CB8AC3E}">
        <p14:creationId xmlns:p14="http://schemas.microsoft.com/office/powerpoint/2010/main" val="52411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417046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40" y="6501674"/>
            <a:ext cx="6469209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 dirty="0"/>
              <a:t>Source: …</a:t>
            </a:r>
          </a:p>
        </p:txBody>
      </p:sp>
      <p:pic>
        <p:nvPicPr>
          <p:cNvPr id="6" name="Bausch Health logo">
            <a:extLst>
              <a:ext uri="{FF2B5EF4-FFF2-40B4-BE49-F238E27FC236}">
                <a16:creationId xmlns:a16="http://schemas.microsoft.com/office/drawing/2014/main" id="{4F03F8FD-8804-5A4D-982C-3A8AF72336B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51417" y="3211925"/>
            <a:ext cx="4689168" cy="43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9150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2D747E-F4E7-482E-94A8-75FA3874C4A8}" type="datetimeFigureOut">
              <a:rPr lang="cs-CZ" smtClean="0"/>
              <a:t>08.04.202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E1E4D-C92B-40A0-BA31-76519302E64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959029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08002" y="283029"/>
            <a:ext cx="11025716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pPr lvl="0" algn="l" defTabSz="457152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6102" y="6452348"/>
            <a:ext cx="673100" cy="249339"/>
          </a:xfrm>
          <a:prstGeom prst="rect">
            <a:avLst/>
          </a:prstGeom>
        </p:spPr>
        <p:txBody>
          <a:bodyPr vert="horz" wrap="square" lIns="89611" tIns="44806" rIns="89611" bIns="44806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20" b="1">
                <a:solidFill>
                  <a:schemeClr val="accent6"/>
                </a:solidFill>
                <a:latin typeface="Helvetica" pitchFamily="2" charset="0"/>
                <a:cs typeface="+mn-cs"/>
              </a:defRPr>
            </a:lvl1pPr>
          </a:lstStyle>
          <a:p>
            <a:fld id="{76A368BE-FDEE-4903-A20C-61A80BB4BA4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04449" y="1121225"/>
            <a:ext cx="1104900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15608" y="807524"/>
            <a:ext cx="10918109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6472E7B6-C906-3043-A748-C03B9C97853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60108" y="6470983"/>
            <a:ext cx="1891973" cy="138689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89609AA-2915-40DD-99D0-702709F2B2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9568436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89609AA-2915-40DD-99D0-702709F2B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3629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  <p:hf sldNum="0" hdr="0" ftr="0" dt="0"/>
  <p:txStyles>
    <p:titleStyle>
      <a:lvl1pPr algn="l" defTabSz="457152" rtl="0" eaLnBrk="1" fontAlgn="base" hangingPunct="1">
        <a:spcBef>
          <a:spcPct val="0"/>
        </a:spcBef>
        <a:spcAft>
          <a:spcPct val="0"/>
        </a:spcAft>
        <a:tabLst>
          <a:tab pos="1542886" algn="l"/>
        </a:tabLst>
        <a:defRPr lang="en-US" sz="2857" b="1" kern="1200" cap="none" spc="-153" baseline="0" dirty="0" smtClean="0">
          <a:solidFill>
            <a:srgbClr val="00B1EA"/>
          </a:solidFill>
          <a:latin typeface="Helvetica" pitchFamily="2" charset="0"/>
          <a:ea typeface="+mj-ea"/>
          <a:cs typeface="+mj-cs"/>
        </a:defRPr>
      </a:lvl1pPr>
      <a:lvl2pPr algn="l" defTabSz="457152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1"/>
          </a:solidFill>
          <a:latin typeface="Trebuchet MS" pitchFamily="34" charset="0"/>
        </a:defRPr>
      </a:lvl2pPr>
      <a:lvl3pPr algn="l" defTabSz="457152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1"/>
          </a:solidFill>
          <a:latin typeface="Trebuchet MS" pitchFamily="34" charset="0"/>
        </a:defRPr>
      </a:lvl3pPr>
      <a:lvl4pPr algn="l" defTabSz="457152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1"/>
          </a:solidFill>
          <a:latin typeface="Trebuchet MS" pitchFamily="34" charset="0"/>
        </a:defRPr>
      </a:lvl4pPr>
      <a:lvl5pPr algn="l" defTabSz="457152" rtl="0" eaLnBrk="1" fontAlgn="base" hangingPunct="1">
        <a:spcBef>
          <a:spcPct val="0"/>
        </a:spcBef>
        <a:spcAft>
          <a:spcPct val="0"/>
        </a:spcAft>
        <a:defRPr sz="2041" b="1">
          <a:solidFill>
            <a:schemeClr val="tx1"/>
          </a:solidFill>
          <a:latin typeface="Trebuchet MS" pitchFamily="34" charset="0"/>
        </a:defRPr>
      </a:lvl5pPr>
      <a:lvl6pPr marL="457152" algn="ctr" defTabSz="457152" rtl="0" eaLnBrk="1" fontAlgn="base" hangingPunct="1">
        <a:spcBef>
          <a:spcPct val="0"/>
        </a:spcBef>
        <a:spcAft>
          <a:spcPct val="0"/>
        </a:spcAft>
        <a:defRPr sz="4387">
          <a:solidFill>
            <a:schemeClr val="tx1"/>
          </a:solidFill>
          <a:latin typeface="Calibri" pitchFamily="34" charset="0"/>
        </a:defRPr>
      </a:lvl6pPr>
      <a:lvl7pPr marL="914303" algn="ctr" defTabSz="457152" rtl="0" eaLnBrk="1" fontAlgn="base" hangingPunct="1">
        <a:spcBef>
          <a:spcPct val="0"/>
        </a:spcBef>
        <a:spcAft>
          <a:spcPct val="0"/>
        </a:spcAft>
        <a:defRPr sz="4387">
          <a:solidFill>
            <a:schemeClr val="tx1"/>
          </a:solidFill>
          <a:latin typeface="Calibri" pitchFamily="34" charset="0"/>
        </a:defRPr>
      </a:lvl7pPr>
      <a:lvl8pPr marL="1371455" algn="ctr" defTabSz="457152" rtl="0" eaLnBrk="1" fontAlgn="base" hangingPunct="1">
        <a:spcBef>
          <a:spcPct val="0"/>
        </a:spcBef>
        <a:spcAft>
          <a:spcPct val="0"/>
        </a:spcAft>
        <a:defRPr sz="4387">
          <a:solidFill>
            <a:schemeClr val="tx1"/>
          </a:solidFill>
          <a:latin typeface="Calibri" pitchFamily="34" charset="0"/>
        </a:defRPr>
      </a:lvl8pPr>
      <a:lvl9pPr marL="1828606" algn="ctr" defTabSz="457152" rtl="0" eaLnBrk="1" fontAlgn="base" hangingPunct="1">
        <a:spcBef>
          <a:spcPct val="0"/>
        </a:spcBef>
        <a:spcAft>
          <a:spcPct val="0"/>
        </a:spcAft>
        <a:defRPr sz="4387">
          <a:solidFill>
            <a:schemeClr val="tx1"/>
          </a:solidFill>
          <a:latin typeface="Calibri" pitchFamily="34" charset="0"/>
        </a:defRPr>
      </a:lvl9pPr>
    </p:titleStyle>
    <p:bodyStyle>
      <a:lvl1pPr marL="228576" indent="-228576" algn="l" defTabSz="457152" rtl="0" eaLnBrk="1" fontAlgn="base" hangingPunct="1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428" kern="1200">
          <a:solidFill>
            <a:schemeClr val="tx1"/>
          </a:solidFill>
          <a:latin typeface="Helvetica" pitchFamily="2" charset="0"/>
          <a:ea typeface="+mn-ea"/>
          <a:cs typeface="+mn-cs"/>
        </a:defRPr>
      </a:lvl1pPr>
      <a:lvl2pPr marL="457152" indent="-209528" algn="l" defTabSz="457152" rtl="0" eaLnBrk="1" fontAlgn="base" hangingPunct="1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SzPct val="85000"/>
        <a:buFont typeface="Arial" charset="0"/>
        <a:buChar char="–"/>
        <a:defRPr sz="1428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85727" indent="-209528" algn="l" defTabSz="457152" rtl="0" eaLnBrk="1" fontAlgn="base" hangingPunct="1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•"/>
        <a:defRPr sz="102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914303" indent="-247624" algn="l" defTabSz="457152" rtl="0" eaLnBrk="1" fontAlgn="base" hangingPunct="1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–"/>
        <a:defRPr sz="102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142879" indent="-228576" algn="l" defTabSz="457152" rtl="0" eaLnBrk="1" fontAlgn="base" hangingPunct="1">
        <a:lnSpc>
          <a:spcPct val="125000"/>
        </a:lnSpc>
        <a:spcBef>
          <a:spcPts val="0"/>
        </a:spcBef>
        <a:spcAft>
          <a:spcPct val="0"/>
        </a:spcAft>
        <a:buClr>
          <a:srgbClr val="00B1EA"/>
        </a:buClr>
        <a:buFont typeface="Arial" charset="0"/>
        <a:buChar char="»"/>
        <a:defRPr sz="714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2514333" indent="-228576" algn="l" defTabSz="457152" rtl="0" eaLnBrk="1" latinLnBrk="0" hangingPunct="1">
        <a:spcBef>
          <a:spcPct val="20000"/>
        </a:spcBef>
        <a:buFont typeface="Arial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5" indent="-228576" algn="l" defTabSz="457152" rtl="0" eaLnBrk="1" latinLnBrk="0" hangingPunct="1">
        <a:spcBef>
          <a:spcPct val="20000"/>
        </a:spcBef>
        <a:buFont typeface="Arial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7" indent="-228576" algn="l" defTabSz="457152" rtl="0" eaLnBrk="1" latinLnBrk="0" hangingPunct="1">
        <a:spcBef>
          <a:spcPct val="20000"/>
        </a:spcBef>
        <a:buFont typeface="Arial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8" indent="-228576" algn="l" defTabSz="457152" rtl="0" eaLnBrk="1" latinLnBrk="0" hangingPunct="1">
        <a:spcBef>
          <a:spcPct val="20000"/>
        </a:spcBef>
        <a:buFont typeface="Arial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45715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45715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45715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45715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45715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45715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45715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45715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hyperlink" Target="https://journals.lww.com/pidj/Fulltext/1998/08001/Treatment_of_upper_and_lower_respiratory_tract.7.aspx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4" Type="http://schemas.openxmlformats.org/officeDocument/2006/relationships/hyperlink" Target="https://journals.lww.com/pidj/Fulltext/1998/08001/Treatment_of_upper_and_lower_respiratory_tract.7.aspx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4" Type="http://schemas.openxmlformats.org/officeDocument/2006/relationships/hyperlink" Target="https://journals.lww.com/pidj/Fulltext/1998/08001/Treatment_of_upper_and_lower_respiratory_tract.7.aspx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 descr="Obsah obrázku text&#10;&#10;Popis vygenerován s vysokou mírou spolehlivosti">
            <a:extLst>
              <a:ext uri="{FF2B5EF4-FFF2-40B4-BE49-F238E27FC236}">
                <a16:creationId xmlns:a16="http://schemas.microsoft.com/office/drawing/2014/main" id="{6AC65A18-6649-4E92-B74B-A1ACD86911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8308" y="4859568"/>
            <a:ext cx="2721685" cy="1998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16F1B2E-3EF7-E9C7-C3B1-E0BC441B76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0889" y="3237289"/>
            <a:ext cx="8523766" cy="3244559"/>
          </a:xfrm>
        </p:spPr>
        <p:txBody>
          <a:bodyPr/>
          <a:lstStyle/>
          <a:p>
            <a:pPr algn="l"/>
            <a:r>
              <a:rPr lang="cs-CZ" sz="5400" dirty="0" err="1">
                <a:solidFill>
                  <a:srgbClr val="000000"/>
                </a:solidFill>
                <a:latin typeface="Aptos" panose="020B0004020202020204" pitchFamily="34" charset="0"/>
              </a:rPr>
              <a:t>Cefprozil</a:t>
            </a:r>
            <a:r>
              <a:rPr lang="cs-CZ" sz="5400" dirty="0">
                <a:solidFill>
                  <a:srgbClr val="000000"/>
                </a:solidFill>
                <a:latin typeface="Aptos" panose="020B0004020202020204" pitchFamily="34" charset="0"/>
              </a:rPr>
              <a:t> zraje jako víno</a:t>
            </a:r>
            <a:br>
              <a:rPr lang="cs-CZ" sz="4400" dirty="0">
                <a:solidFill>
                  <a:srgbClr val="000000"/>
                </a:solidFill>
              </a:rPr>
            </a:br>
            <a:br>
              <a:rPr lang="cs-CZ" sz="3600" dirty="0">
                <a:solidFill>
                  <a:srgbClr val="000000"/>
                </a:solidFill>
              </a:rPr>
            </a:br>
            <a:r>
              <a:rPr lang="cs-CZ" sz="2400" b="0" i="1" dirty="0">
                <a:solidFill>
                  <a:srgbClr val="000000"/>
                </a:solidFill>
                <a:latin typeface="Aptos" panose="020B0004020202020204" pitchFamily="34" charset="0"/>
              </a:rPr>
              <a:t>Olga Bálková</a:t>
            </a:r>
            <a:br>
              <a:rPr lang="cs-CZ" sz="1800" b="0" i="0" u="none" strike="noStrike" baseline="0" dirty="0">
                <a:solidFill>
                  <a:srgbClr val="000000"/>
                </a:solidFill>
                <a:latin typeface="Open Sans" panose="020B0606030504020204" pitchFamily="34" charset="0"/>
              </a:rPr>
            </a:br>
            <a:r>
              <a:rPr lang="cs-CZ" sz="1800" b="0" i="0" u="none" strike="noStrike" baseline="0" dirty="0">
                <a:solidFill>
                  <a:srgbClr val="00A1E4"/>
                </a:solidFill>
                <a:latin typeface="Open Sans" panose="020B0606030504020204" pitchFamily="34" charset="0"/>
              </a:rPr>
              <a:t> </a:t>
            </a:r>
            <a:r>
              <a:rPr lang="cs-CZ" sz="2800" i="0" u="none" strike="noStrike" baseline="0" dirty="0">
                <a:solidFill>
                  <a:srgbClr val="00A1E4"/>
                </a:solidFill>
                <a:latin typeface="Aptos" panose="020B0004020202020204" pitchFamily="34" charset="0"/>
              </a:rPr>
              <a:t>O</a:t>
            </a:r>
            <a:r>
              <a:rPr lang="cs-CZ" sz="28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LOMOUCKÉ </a:t>
            </a:r>
            <a:r>
              <a:rPr lang="cs-CZ" sz="2800" i="0" u="none" strike="noStrike" baseline="0" dirty="0">
                <a:solidFill>
                  <a:srgbClr val="00A1E4"/>
                </a:solidFill>
                <a:latin typeface="Aptos" panose="020B0004020202020204" pitchFamily="34" charset="0"/>
              </a:rPr>
              <a:t>O</a:t>
            </a:r>
            <a:r>
              <a:rPr lang="cs-CZ" sz="28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TORINOLARYNGOLOGICKÉ </a:t>
            </a:r>
            <a:r>
              <a:rPr lang="cs-CZ" sz="2800" i="0" u="none" strike="noStrike" baseline="0" dirty="0">
                <a:solidFill>
                  <a:srgbClr val="00A1E4"/>
                </a:solidFill>
                <a:latin typeface="Aptos" panose="020B0004020202020204" pitchFamily="34" charset="0"/>
              </a:rPr>
              <a:t>O</a:t>
            </a:r>
            <a:r>
              <a:rPr lang="cs-CZ" sz="28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DPOLEDNE </a:t>
            </a:r>
            <a:br>
              <a:rPr lang="cs-CZ" sz="2800" b="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2400" b="0" dirty="0">
                <a:solidFill>
                  <a:srgbClr val="000000"/>
                </a:solidFill>
                <a:latin typeface="Aptos" panose="020B0004020202020204" pitchFamily="34" charset="0"/>
              </a:rPr>
              <a:t>10. dubna 2025</a:t>
            </a:r>
            <a:endParaRPr lang="sk-SK" sz="3200" b="0" baseline="300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968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ipple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text 3">
            <a:extLst>
              <a:ext uri="{FF2B5EF4-FFF2-40B4-BE49-F238E27FC236}">
                <a16:creationId xmlns:a16="http://schemas.microsoft.com/office/drawing/2014/main" id="{D1F583A3-188C-C4B1-73BC-C5FFF5F53B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Kvalitativní a kvantitativní složení střevní mikroflóry – zcela individuální</a:t>
            </a:r>
          </a:p>
          <a:p>
            <a:r>
              <a:rPr lang="cs-CZ" sz="1800" u="sng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ndoskopicky</a:t>
            </a:r>
            <a:r>
              <a:rPr lang="cs-CZ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odebrané vzorky z různých etáží GIT = složení (střevní) </a:t>
            </a:r>
            <a:r>
              <a:rPr lang="cs-CZ" sz="1800" dirty="0" err="1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mikrobioty</a:t>
            </a:r>
            <a:r>
              <a:rPr lang="cs-CZ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se 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liší a nelze spoléhat </a:t>
            </a:r>
            <a:b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na vzorky spontánně vyloučené stolice.</a:t>
            </a:r>
            <a:endParaRPr lang="cs-CZ" sz="1800" dirty="0">
              <a:solidFill>
                <a:srgbClr val="0000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cs-CZ" sz="1800" b="1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Probiotika:</a:t>
            </a:r>
            <a:r>
              <a:rPr lang="cs-CZ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Neexistuje mezinárodní standard pro kvalitativní a kvantitativní složení. </a:t>
            </a:r>
            <a:br>
              <a:rPr lang="cs-CZ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cs-CZ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oplňky stravy s obsahem probiotik nemají v EU žádné povolené zdravotní tvrzení. </a:t>
            </a:r>
          </a:p>
          <a:p>
            <a:r>
              <a:rPr lang="cs-CZ" sz="1800" b="1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Reakce zdravého organismu na probiotika:</a:t>
            </a:r>
            <a:r>
              <a:rPr lang="cs-CZ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individuální a nepredikovatelná + aktivace imunitního systému </a:t>
            </a:r>
          </a:p>
          <a:p>
            <a:r>
              <a:rPr lang="cs-CZ" sz="1800" b="1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Nežádoucí účinky probiotik</a:t>
            </a:r>
            <a:r>
              <a:rPr lang="cs-CZ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: nadýmání, plynatost, zácpa, nadměrná žízeň, bolesti hlavy až migrény</a:t>
            </a:r>
          </a:p>
          <a:p>
            <a:r>
              <a:rPr lang="cs-CZ" sz="1800" b="1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Účinnost probiotik</a:t>
            </a:r>
            <a:r>
              <a:rPr lang="cs-CZ" sz="1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: ???</a:t>
            </a:r>
          </a:p>
          <a:p>
            <a:r>
              <a:rPr lang="cs-CZ" sz="1800" dirty="0">
                <a:solidFill>
                  <a:srgbClr val="FF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Kolonizace GIT probiotiky po antibiotické léčbě vede k 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výraznému zpoždění obnovy původního (střevního) </a:t>
            </a:r>
            <a:r>
              <a:rPr lang="cs-CZ" sz="1800" dirty="0" err="1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mikrobiomu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a </a:t>
            </a:r>
            <a:r>
              <a:rPr lang="cs-CZ" sz="1800" dirty="0">
                <a:solidFill>
                  <a:srgbClr val="FF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prodloužené </a:t>
            </a:r>
            <a:r>
              <a:rPr lang="cs-CZ" sz="1800" dirty="0" err="1">
                <a:solidFill>
                  <a:srgbClr val="FF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ysbióze</a:t>
            </a:r>
            <a:r>
              <a:rPr lang="cs-CZ" sz="1800" dirty="0">
                <a:solidFill>
                  <a:srgbClr val="FF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, která trvá nejméně 5 měsíců 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po ukončení podávání probiotik. </a:t>
            </a:r>
            <a:b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ento efekt může mít dlouhodobé zdravotní důsledky, včetně zvýšené náchylnosti k chronickým a infekčním onemocněním. </a:t>
            </a:r>
            <a:b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</a:br>
            <a:endParaRPr lang="cs-CZ" sz="1800" dirty="0">
              <a:solidFill>
                <a:srgbClr val="000000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001F8555-1F3A-7A28-4615-DAE6BCC9747A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ctr" anchorCtr="0" compatLnSpc="1">
            <a:prstTxWarp prst="textNoShape">
              <a:avLst/>
            </a:prstTxWarp>
          </a:bodyPr>
          <a:lstStyle/>
          <a:p>
            <a:r>
              <a:rPr lang="pl-PL" sz="3200" dirty="0">
                <a:latin typeface="Aptos" panose="020B0004020202020204" pitchFamily="34" charset="0"/>
              </a:rPr>
              <a:t>Antibiotické průjmy? Nespoléhejme na probiotika</a:t>
            </a:r>
            <a:endParaRPr lang="cs-CZ" sz="3200" dirty="0">
              <a:latin typeface="Aptos" panose="020B0004020202020204" pitchFamily="34" charset="0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75DD0C58-2761-4116-D268-886A50187944}"/>
              </a:ext>
            </a:extLst>
          </p:cNvPr>
          <p:cNvSpPr/>
          <p:nvPr/>
        </p:nvSpPr>
        <p:spPr>
          <a:xfrm>
            <a:off x="375229" y="5371739"/>
            <a:ext cx="11441542" cy="735279"/>
          </a:xfrm>
          <a:prstGeom prst="rect">
            <a:avLst/>
          </a:prstGeom>
          <a:solidFill>
            <a:srgbClr val="00A1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b="1" dirty="0" err="1">
                <a:solidFill>
                  <a:schemeClr val="bg1"/>
                </a:solidFill>
                <a:latin typeface="Aptos" panose="020B0004020202020204" pitchFamily="34" charset="0"/>
              </a:rPr>
              <a:t>Cefprozil</a:t>
            </a:r>
            <a:r>
              <a:rPr lang="cs-CZ" sz="3200" b="1" dirty="0">
                <a:solidFill>
                  <a:schemeClr val="bg1"/>
                </a:solidFill>
                <a:latin typeface="Aptos" panose="020B0004020202020204" pitchFamily="34" charset="0"/>
              </a:rPr>
              <a:t> = antibiotikum šetrné k fyziologické </a:t>
            </a:r>
            <a:r>
              <a:rPr lang="cs-CZ" sz="3200" b="1" dirty="0" err="1">
                <a:solidFill>
                  <a:schemeClr val="bg1"/>
                </a:solidFill>
                <a:latin typeface="Aptos" panose="020B0004020202020204" pitchFamily="34" charset="0"/>
              </a:rPr>
              <a:t>mikrobiotě</a:t>
            </a:r>
            <a:r>
              <a:rPr lang="cs-CZ" sz="3200" b="1" dirty="0">
                <a:solidFill>
                  <a:schemeClr val="bg1"/>
                </a:solidFill>
                <a:latin typeface="Aptos" panose="020B0004020202020204" pitchFamily="34" charset="0"/>
              </a:rPr>
              <a:t> GIT.</a:t>
            </a:r>
          </a:p>
        </p:txBody>
      </p:sp>
      <p:sp>
        <p:nvSpPr>
          <p:cNvPr id="6" name="Rectangle: Rounded Corners 6">
            <a:extLst>
              <a:ext uri="{FF2B5EF4-FFF2-40B4-BE49-F238E27FC236}">
                <a16:creationId xmlns:a16="http://schemas.microsoft.com/office/drawing/2014/main" id="{E5BF32F1-3BAE-7D00-EA02-E5D2C271DB19}"/>
              </a:ext>
            </a:extLst>
          </p:cNvPr>
          <p:cNvSpPr/>
          <p:nvPr/>
        </p:nvSpPr>
        <p:spPr>
          <a:xfrm>
            <a:off x="508003" y="6227123"/>
            <a:ext cx="5689872" cy="477527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l"/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Yaqub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MO et al. </a:t>
            </a:r>
            <a:r>
              <a:rPr lang="cs-CZ" sz="1100" i="0" u="none" strike="noStrike" baseline="0" dirty="0" err="1">
                <a:solidFill>
                  <a:srgbClr val="000000"/>
                </a:solidFill>
                <a:latin typeface="Aptos" panose="020B0004020202020204" pitchFamily="34" charset="0"/>
              </a:rPr>
              <a:t>Gastrointest</a:t>
            </a:r>
            <a:r>
              <a:rPr lang="cs-CZ" sz="110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. </a:t>
            </a:r>
            <a:r>
              <a:rPr lang="cs-CZ" sz="1100" i="0" u="none" strike="noStrike" baseline="0" dirty="0" err="1">
                <a:solidFill>
                  <a:srgbClr val="000000"/>
                </a:solidFill>
                <a:latin typeface="Aptos" panose="020B0004020202020204" pitchFamily="34" charset="0"/>
              </a:rPr>
              <a:t>Disord</a:t>
            </a:r>
            <a:r>
              <a:rPr lang="cs-CZ" sz="110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. 2025, 7, 7. </a:t>
            </a:r>
            <a:br>
              <a:rPr lang="cs-CZ" sz="110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110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Suez J et al., 2018, Cell 174, 1406–1423.</a:t>
            </a:r>
            <a:br>
              <a:rPr lang="cs-CZ" sz="110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1100" i="0" u="none" strike="noStrike" baseline="0" dirty="0" err="1">
                <a:solidFill>
                  <a:srgbClr val="000000"/>
                </a:solidFill>
                <a:latin typeface="Aptos" panose="020B0004020202020204" pitchFamily="34" charset="0"/>
              </a:rPr>
              <a:t>Zmora</a:t>
            </a:r>
            <a:r>
              <a:rPr lang="cs-CZ" sz="110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 N et al., 2018, Cell 174, 1388–1405.</a:t>
            </a:r>
            <a:endParaRPr lang="cs-CZ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33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56BDA271-246A-44B6-8C4A-CC5A18066E45}"/>
              </a:ext>
            </a:extLst>
          </p:cNvPr>
          <p:cNvSpPr txBox="1"/>
          <p:nvPr/>
        </p:nvSpPr>
        <p:spPr>
          <a:xfrm>
            <a:off x="6902199" y="3651736"/>
            <a:ext cx="473156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2400" dirty="0">
                <a:solidFill>
                  <a:schemeClr val="accent2"/>
                </a:solidFill>
                <a:latin typeface="Aptos" panose="020B0004020202020204" pitchFamily="34" charset="0"/>
              </a:rPr>
              <a:t>dobrá snášenlivost</a:t>
            </a:r>
            <a:r>
              <a:rPr lang="bg-BG" sz="2400" dirty="0">
                <a:solidFill>
                  <a:schemeClr val="accent2"/>
                </a:solidFill>
                <a:latin typeface="Aptos" panose="020B0004020202020204" pitchFamily="34" charset="0"/>
              </a:rPr>
              <a:t> </a:t>
            </a: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minimální vliv </a:t>
            </a:r>
            <a:b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na </a:t>
            </a:r>
            <a:r>
              <a:rPr lang="cs-CZ" sz="2400" dirty="0" err="1">
                <a:solidFill>
                  <a:srgbClr val="000000"/>
                </a:solidFill>
                <a:latin typeface="Aptos" panose="020B0004020202020204" pitchFamily="34" charset="0"/>
              </a:rPr>
              <a:t>fyziol</a:t>
            </a:r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. mikroflóru nosohltanu</a:t>
            </a: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četnost NÚ cca 4%</a:t>
            </a:r>
            <a:b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2400" dirty="0">
                <a:solidFill>
                  <a:schemeClr val="accent1"/>
                </a:solidFill>
                <a:latin typeface="Aptos" panose="020B0004020202020204" pitchFamily="34" charset="0"/>
              </a:rPr>
              <a:t>chuťově velmi přijatelný u dětí</a:t>
            </a:r>
            <a:endParaRPr lang="en-US" sz="2000" dirty="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pic>
        <p:nvPicPr>
          <p:cNvPr id="2" name="Obrázek 1" descr="Obsah obrázku text&#10;&#10;Popis vygenerován s vysokou mírou spolehlivosti">
            <a:extLst>
              <a:ext uri="{FF2B5EF4-FFF2-40B4-BE49-F238E27FC236}">
                <a16:creationId xmlns:a16="http://schemas.microsoft.com/office/drawing/2014/main" id="{56FD569A-54F0-3643-DCBB-7CB914D365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581" y="1549452"/>
            <a:ext cx="4062845" cy="2983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: Rounded Corners 6">
            <a:extLst>
              <a:ext uri="{FF2B5EF4-FFF2-40B4-BE49-F238E27FC236}">
                <a16:creationId xmlns:a16="http://schemas.microsoft.com/office/drawing/2014/main" id="{59FDC8FE-C10D-2F55-5202-E74500BD2451}"/>
              </a:ext>
            </a:extLst>
          </p:cNvPr>
          <p:cNvSpPr/>
          <p:nvPr/>
        </p:nvSpPr>
        <p:spPr>
          <a:xfrm>
            <a:off x="737587" y="5715852"/>
            <a:ext cx="4509823" cy="83000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SPC </a:t>
            </a: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zil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v aktuální verzi textu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Wiseman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LR et al. </a:t>
            </a: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Drugs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</a:rPr>
              <a:t>45 (2): 295-317, 1993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Nicolau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DP et al. </a:t>
            </a:r>
            <a:r>
              <a:rPr lang="pl-P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ediatr Drugs 2007; 9 (2): 119-123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Brook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I. </a:t>
            </a:r>
            <a:r>
              <a:rPr lang="pl-P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ediatr Drugs 2007; 9 (2): 119-123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Yildirim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I et al. </a:t>
            </a: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The Turkish Journal of Pediatrics 2008; 50: 120-125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C4D833F0-370F-12B1-761F-541A724A3D55}"/>
              </a:ext>
            </a:extLst>
          </p:cNvPr>
          <p:cNvSpPr/>
          <p:nvPr/>
        </p:nvSpPr>
        <p:spPr>
          <a:xfrm>
            <a:off x="373513" y="653146"/>
            <a:ext cx="11444974" cy="311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ECD5245-60F4-4B18-9A67-258DB1E3EF57}"/>
              </a:ext>
            </a:extLst>
          </p:cNvPr>
          <p:cNvSpPr txBox="1"/>
          <p:nvPr/>
        </p:nvSpPr>
        <p:spPr>
          <a:xfrm>
            <a:off x="-526589" y="3937475"/>
            <a:ext cx="51530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tabLst>
                <a:tab pos="1713074" algn="l"/>
              </a:tabLst>
            </a:pPr>
            <a:r>
              <a:rPr lang="cs-CZ" sz="2400" dirty="0">
                <a:solidFill>
                  <a:schemeClr val="accent2"/>
                </a:solidFill>
                <a:latin typeface="Aptos" panose="020B0004020202020204" pitchFamily="34" charset="0"/>
              </a:rPr>
              <a:t>rychlá a úplná absorpce</a:t>
            </a:r>
            <a:r>
              <a:rPr lang="bg-BG" sz="2400" dirty="0">
                <a:solidFill>
                  <a:schemeClr val="accent2"/>
                </a:solidFill>
                <a:latin typeface="Aptos" panose="020B0004020202020204" pitchFamily="34" charset="0"/>
              </a:rPr>
              <a:t> </a:t>
            </a: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nezávislá na příjmu potravy</a:t>
            </a:r>
            <a:b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není ovlivněná antacidy</a:t>
            </a:r>
            <a:br>
              <a:rPr lang="cs-CZ" sz="2400" dirty="0">
                <a:solidFill>
                  <a:srgbClr val="494C4F"/>
                </a:solidFill>
                <a:latin typeface="Aptos" panose="020B0004020202020204" pitchFamily="34" charset="0"/>
              </a:rPr>
            </a:br>
            <a:r>
              <a:rPr lang="cs-CZ" sz="2400" dirty="0">
                <a:solidFill>
                  <a:srgbClr val="00A1E4"/>
                </a:solidFill>
                <a:latin typeface="Aptos" panose="020B0004020202020204" pitchFamily="34" charset="0"/>
              </a:rPr>
              <a:t>biologická dostupnost 90 %</a:t>
            </a:r>
            <a:endParaRPr lang="en-US" sz="2400" dirty="0">
              <a:solidFill>
                <a:srgbClr val="00A1E4"/>
              </a:solidFill>
              <a:latin typeface="Aptos" panose="020B00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561A2F-81F9-4717-AA75-59A533BD9191}"/>
              </a:ext>
            </a:extLst>
          </p:cNvPr>
          <p:cNvSpPr txBox="1"/>
          <p:nvPr/>
        </p:nvSpPr>
        <p:spPr>
          <a:xfrm>
            <a:off x="7350614" y="1030935"/>
            <a:ext cx="4207771" cy="15696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2400" dirty="0">
                <a:solidFill>
                  <a:schemeClr val="accent2"/>
                </a:solidFill>
                <a:latin typeface="Aptos" panose="020B0004020202020204" pitchFamily="34" charset="0"/>
              </a:rPr>
              <a:t>rychlá klinická odezva</a:t>
            </a:r>
            <a:r>
              <a:rPr lang="bg-BG" sz="2400" dirty="0">
                <a:solidFill>
                  <a:schemeClr val="accent2"/>
                </a:solidFill>
                <a:latin typeface="Aptos" panose="020B0004020202020204" pitchFamily="34" charset="0"/>
              </a:rPr>
              <a:t> </a:t>
            </a: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dobrý průnik </a:t>
            </a:r>
            <a:b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do zánětlivých exsudátů, tonzil, středoušní tekutiny</a:t>
            </a:r>
            <a:endParaRPr lang="en-US" sz="24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D9140D-C4CA-40F9-BA5B-5E27C0FA95FC}"/>
              </a:ext>
            </a:extLst>
          </p:cNvPr>
          <p:cNvSpPr txBox="1"/>
          <p:nvPr/>
        </p:nvSpPr>
        <p:spPr>
          <a:xfrm>
            <a:off x="373513" y="718455"/>
            <a:ext cx="4957023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2400" dirty="0">
                <a:solidFill>
                  <a:schemeClr val="accent2"/>
                </a:solidFill>
                <a:latin typeface="Aptos" panose="020B0004020202020204" pitchFamily="34" charset="0"/>
              </a:rPr>
              <a:t>široké antibakteriální spektrum</a:t>
            </a:r>
            <a:endParaRPr lang="bg-BG" sz="2400" dirty="0">
              <a:solidFill>
                <a:schemeClr val="accent2"/>
              </a:solidFill>
              <a:latin typeface="Aptos" panose="020B0004020202020204" pitchFamily="34" charset="0"/>
            </a:endParaRP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vhodné pro empirickou terapii</a:t>
            </a:r>
            <a:endParaRPr lang="en-US" sz="24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F9C2E674-20A0-251E-0507-9631EEDCE11A}"/>
              </a:ext>
            </a:extLst>
          </p:cNvPr>
          <p:cNvSpPr/>
          <p:nvPr/>
        </p:nvSpPr>
        <p:spPr>
          <a:xfrm>
            <a:off x="633615" y="727146"/>
            <a:ext cx="506060" cy="4749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dirty="0">
                <a:solidFill>
                  <a:schemeClr val="accent1"/>
                </a:solidFill>
                <a:latin typeface="Aptos" panose="020B00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</a:t>
            </a:r>
            <a:endParaRPr lang="cs-CZ" sz="3200" dirty="0">
              <a:solidFill>
                <a:schemeClr val="accent1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159AA373-D1D8-1880-A94F-6038C4CC825C}"/>
              </a:ext>
            </a:extLst>
          </p:cNvPr>
          <p:cNvSpPr/>
          <p:nvPr/>
        </p:nvSpPr>
        <p:spPr>
          <a:xfrm>
            <a:off x="7950847" y="1060467"/>
            <a:ext cx="656822" cy="4749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dirty="0">
                <a:solidFill>
                  <a:schemeClr val="accent1"/>
                </a:solidFill>
                <a:latin typeface="Aptos" panose="020B00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</a:t>
            </a:r>
            <a:endParaRPr lang="cs-CZ" sz="3200" dirty="0">
              <a:solidFill>
                <a:schemeClr val="accent1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A650E4F-4E0D-7882-E060-A1822558993A}"/>
              </a:ext>
            </a:extLst>
          </p:cNvPr>
          <p:cNvSpPr/>
          <p:nvPr/>
        </p:nvSpPr>
        <p:spPr>
          <a:xfrm>
            <a:off x="886645" y="4074239"/>
            <a:ext cx="411982" cy="2014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dirty="0">
                <a:solidFill>
                  <a:schemeClr val="accent1"/>
                </a:solidFill>
                <a:latin typeface="Aptos" panose="020B00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</a:t>
            </a:r>
            <a:endParaRPr lang="cs-CZ" sz="3200" dirty="0">
              <a:solidFill>
                <a:schemeClr val="accent1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42E2803D-900A-FB25-BEFD-CBEF27598328}"/>
              </a:ext>
            </a:extLst>
          </p:cNvPr>
          <p:cNvSpPr/>
          <p:nvPr/>
        </p:nvSpPr>
        <p:spPr>
          <a:xfrm>
            <a:off x="8401653" y="3688773"/>
            <a:ext cx="518340" cy="4215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dirty="0">
                <a:solidFill>
                  <a:schemeClr val="accent1"/>
                </a:solidFill>
                <a:latin typeface="Aptos" panose="020B00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</a:t>
            </a:r>
            <a:endParaRPr lang="cs-CZ" sz="3200" dirty="0">
              <a:solidFill>
                <a:schemeClr val="accent1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Rectangle: Rounded Corners 6">
            <a:extLst>
              <a:ext uri="{FF2B5EF4-FFF2-40B4-BE49-F238E27FC236}">
                <a16:creationId xmlns:a16="http://schemas.microsoft.com/office/drawing/2014/main" id="{3D9E8BEC-2009-6F13-D1F5-8D86CA80091E}"/>
              </a:ext>
            </a:extLst>
          </p:cNvPr>
          <p:cNvSpPr/>
          <p:nvPr/>
        </p:nvSpPr>
        <p:spPr>
          <a:xfrm>
            <a:off x="5247410" y="5530737"/>
            <a:ext cx="6826826" cy="122383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The Journal of Laryngology &amp; Otology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nl-N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April 2005,Vol. 119, pp. 251–258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Recurrent Bacterial Upper Respiratory Infections: Treatment Options With A Focus On </a:t>
            </a:r>
            <a:r>
              <a:rPr lang="en-US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prozil</a:t>
            </a:r>
            <a:endParaRPr lang="en-US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  <a:p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</a:t>
            </a: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ps://journals.lww.com/pidj/Fulltext/1998/08001/Treatment_of_upper_and_lower_respiratory_tract.7.aspx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Williams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PEO,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Harding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SM: J.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Antim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 Chemoth.,1984,13,2:191-196.</a:t>
            </a:r>
            <a:b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Barriere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SL.: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lin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Inf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 Dis.,1992,14:184-188.</a:t>
            </a:r>
            <a:endParaRPr lang="cs-CZ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45983D9-43B0-7A05-8E36-7B4E62F3C2FD}"/>
              </a:ext>
            </a:extLst>
          </p:cNvPr>
          <p:cNvSpPr/>
          <p:nvPr/>
        </p:nvSpPr>
        <p:spPr>
          <a:xfrm>
            <a:off x="10203873" y="653146"/>
            <a:ext cx="1429893" cy="311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01402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7E0EC947-6020-4795-92F2-9EF73A12A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 err="1">
                <a:latin typeface="Aptos" panose="020B0004020202020204" pitchFamily="34" charset="0"/>
              </a:rPr>
              <a:t>Cefprozil</a:t>
            </a:r>
            <a:r>
              <a:rPr lang="cs-CZ" sz="3200" dirty="0">
                <a:latin typeface="Aptos" panose="020B0004020202020204" pitchFamily="34" charset="0"/>
              </a:rPr>
              <a:t> </a:t>
            </a:r>
            <a:r>
              <a:rPr lang="cs-CZ" sz="3200" dirty="0">
                <a:solidFill>
                  <a:srgbClr val="FF0000"/>
                </a:solidFill>
                <a:latin typeface="Aptos" panose="020B0004020202020204" pitchFamily="34" charset="0"/>
              </a:rPr>
              <a:t>neovlivňuje</a:t>
            </a:r>
            <a:r>
              <a:rPr lang="cs-CZ" sz="3200" dirty="0">
                <a:latin typeface="Aptos" panose="020B0004020202020204" pitchFamily="34" charset="0"/>
              </a:rPr>
              <a:t> fyziologickou flóru nosohltanu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31266189-5277-4257-866A-C885498521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0679" y="1040188"/>
            <a:ext cx="7177928" cy="5067990"/>
          </a:xfrm>
          <a:prstGeom prst="rect">
            <a:avLst/>
          </a:prstGeom>
        </p:spPr>
      </p:pic>
      <p:sp>
        <p:nvSpPr>
          <p:cNvPr id="2" name="Rectangle: Rounded Corners 6">
            <a:extLst>
              <a:ext uri="{FF2B5EF4-FFF2-40B4-BE49-F238E27FC236}">
                <a16:creationId xmlns:a16="http://schemas.microsoft.com/office/drawing/2014/main" id="{BFE85811-FA1D-F4DD-46DA-6BF6366DF2DF}"/>
              </a:ext>
            </a:extLst>
          </p:cNvPr>
          <p:cNvSpPr/>
          <p:nvPr/>
        </p:nvSpPr>
        <p:spPr>
          <a:xfrm>
            <a:off x="658169" y="6146394"/>
            <a:ext cx="6065629" cy="572708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</a:rPr>
              <a:t>Brook I. Int Arch </a:t>
            </a:r>
            <a:r>
              <a:rPr lang="en-US" sz="1100" dirty="0" err="1">
                <a:solidFill>
                  <a:srgbClr val="000000"/>
                </a:solidFill>
                <a:latin typeface="Aptos" panose="020B0004020202020204" pitchFamily="34" charset="0"/>
              </a:rPr>
              <a:t>Otorhinolaryngol</a:t>
            </a: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</a:rPr>
              <a:t> 2017;21:286-296.</a:t>
            </a:r>
          </a:p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</a:rPr>
              <a:t>The Sanford Guide to Antimicrobial Therapy 2019. 49th Edition. ISBN - 13: 978-1944272098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Yildirim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I et al. </a:t>
            </a: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</a:rPr>
              <a:t>The Turkish Journal of Pediatrics 2008; 50: 120-125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</a:rPr>
              <a:t>.</a:t>
            </a:r>
            <a:endParaRPr lang="cs-CZ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Znak mínus 8">
            <a:extLst>
              <a:ext uri="{FF2B5EF4-FFF2-40B4-BE49-F238E27FC236}">
                <a16:creationId xmlns:a16="http://schemas.microsoft.com/office/drawing/2014/main" id="{E34F2F4A-6917-33B4-2A59-B1360A9E0971}"/>
              </a:ext>
            </a:extLst>
          </p:cNvPr>
          <p:cNvSpPr/>
          <p:nvPr/>
        </p:nvSpPr>
        <p:spPr>
          <a:xfrm flipV="1">
            <a:off x="1564191" y="4070181"/>
            <a:ext cx="9194244" cy="324569"/>
          </a:xfrm>
          <a:prstGeom prst="mathMinus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5" name="Obdĺžnik 9">
            <a:extLst>
              <a:ext uri="{FF2B5EF4-FFF2-40B4-BE49-F238E27FC236}">
                <a16:creationId xmlns:a16="http://schemas.microsoft.com/office/drawing/2014/main" id="{183291A5-809F-8F75-34B2-8C5351C5ADD2}"/>
              </a:ext>
            </a:extLst>
          </p:cNvPr>
          <p:cNvSpPr/>
          <p:nvPr/>
        </p:nvSpPr>
        <p:spPr>
          <a:xfrm>
            <a:off x="9503096" y="2609815"/>
            <a:ext cx="1148071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k-SK" sz="6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latin typeface="Aptos" panose="020B0004020202020204" pitchFamily="34" charset="0"/>
              </a:rPr>
              <a:t>G+</a:t>
            </a:r>
          </a:p>
        </p:txBody>
      </p:sp>
      <p:sp>
        <p:nvSpPr>
          <p:cNvPr id="7" name="Obdĺžnik 9">
            <a:extLst>
              <a:ext uri="{FF2B5EF4-FFF2-40B4-BE49-F238E27FC236}">
                <a16:creationId xmlns:a16="http://schemas.microsoft.com/office/drawing/2014/main" id="{9FD836E4-6E17-2CE9-1C50-A4431CAEE9DD}"/>
              </a:ext>
            </a:extLst>
          </p:cNvPr>
          <p:cNvSpPr/>
          <p:nvPr/>
        </p:nvSpPr>
        <p:spPr>
          <a:xfrm>
            <a:off x="9606168" y="4470115"/>
            <a:ext cx="998991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k-SK" sz="6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latin typeface="Aptos" panose="020B0004020202020204" pitchFamily="34" charset="0"/>
              </a:rPr>
              <a:t>G-</a:t>
            </a:r>
          </a:p>
        </p:txBody>
      </p:sp>
    </p:spTree>
    <p:extLst>
      <p:ext uri="{BB962C8B-B14F-4D97-AF65-F5344CB8AC3E}">
        <p14:creationId xmlns:p14="http://schemas.microsoft.com/office/powerpoint/2010/main" val="78627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6">
            <a:extLst>
              <a:ext uri="{FF2B5EF4-FFF2-40B4-BE49-F238E27FC236}">
                <a16:creationId xmlns:a16="http://schemas.microsoft.com/office/drawing/2014/main" id="{DAD4FEF3-F2FF-C110-81ED-2851E65BF1EC}"/>
              </a:ext>
            </a:extLst>
          </p:cNvPr>
          <p:cNvSpPr/>
          <p:nvPr/>
        </p:nvSpPr>
        <p:spPr>
          <a:xfrm>
            <a:off x="581930" y="6115156"/>
            <a:ext cx="5689872" cy="35786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sz="1100" b="0" dirty="0" err="1">
                <a:solidFill>
                  <a:srgbClr val="000000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Yildirim</a:t>
            </a:r>
            <a:r>
              <a:rPr lang="cs-CZ" sz="1100" b="0" dirty="0">
                <a:solidFill>
                  <a:srgbClr val="000000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 I et al. </a:t>
            </a:r>
            <a:r>
              <a:rPr lang="en-US" sz="1100" b="0" u="none" strike="noStrike" baseline="0" dirty="0">
                <a:solidFill>
                  <a:srgbClr val="000000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The Turkish Journal of Pediatrics 2008; 50: 120-125</a:t>
            </a:r>
            <a:r>
              <a:rPr lang="cs-CZ" sz="1100" b="0" u="none" strike="noStrike" baseline="0" dirty="0">
                <a:solidFill>
                  <a:srgbClr val="000000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.</a:t>
            </a:r>
            <a:endParaRPr lang="cs-CZ" sz="1100" b="0" dirty="0">
              <a:solidFill>
                <a:srgbClr val="000000"/>
              </a:solidFill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F6F9849-DFB3-881A-3EF6-75BF65186C8A}"/>
              </a:ext>
            </a:extLst>
          </p:cNvPr>
          <p:cNvSpPr/>
          <p:nvPr/>
        </p:nvSpPr>
        <p:spPr>
          <a:xfrm>
            <a:off x="581930" y="653146"/>
            <a:ext cx="11139015" cy="311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CDD1790E-57E3-2970-C2AE-EFDA6D7DE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9504" y="276087"/>
            <a:ext cx="8223908" cy="1377116"/>
          </a:xfrm>
          <a:prstGeom prst="rect">
            <a:avLst/>
          </a:prstGeom>
        </p:spPr>
      </p:pic>
      <p:sp>
        <p:nvSpPr>
          <p:cNvPr id="7" name="Zástupný obsah 6">
            <a:extLst>
              <a:ext uri="{FF2B5EF4-FFF2-40B4-BE49-F238E27FC236}">
                <a16:creationId xmlns:a16="http://schemas.microsoft.com/office/drawing/2014/main" id="{88C58CF9-D896-8C25-B849-73CD310145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999" y="987200"/>
            <a:ext cx="11777606" cy="5105400"/>
          </a:xfrm>
        </p:spPr>
        <p:txBody>
          <a:bodyPr/>
          <a:lstStyle/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sz="1600" b="1" dirty="0">
              <a:solidFill>
                <a:srgbClr val="FF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cs-CZ" sz="1600" b="1" dirty="0">
              <a:solidFill>
                <a:srgbClr val="FF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cs-CZ" sz="1600" b="1" dirty="0">
              <a:solidFill>
                <a:srgbClr val="FF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cs-CZ" sz="2000" b="1" dirty="0">
                <a:solidFill>
                  <a:srgbClr val="FF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ZÁVĚR:</a:t>
            </a:r>
            <a:r>
              <a:rPr lang="cs-CZ" sz="20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cs-CZ" sz="20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prozil</a:t>
            </a:r>
            <a:r>
              <a:rPr lang="cs-CZ" sz="20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je výhodný pro eradikaci GABHS a </a:t>
            </a:r>
            <a:r>
              <a:rPr lang="cs-CZ" sz="2000" b="1" dirty="0">
                <a:solidFill>
                  <a:srgbClr val="FF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nepoškozuje </a:t>
            </a:r>
            <a:r>
              <a:rPr lang="cs-CZ" sz="20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fyziologickou mikroflóru nosohltanu.</a:t>
            </a:r>
            <a:endParaRPr lang="cs-CZ" sz="1800" dirty="0">
              <a:latin typeface="Aptos" panose="020B0004020202020204" pitchFamily="34" charset="0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B4FF930-F247-B9DC-81BF-8F3BD82075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001" y="1924049"/>
            <a:ext cx="8972913" cy="3542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Zástupný obsah 2">
            <a:extLst>
              <a:ext uri="{FF2B5EF4-FFF2-40B4-BE49-F238E27FC236}">
                <a16:creationId xmlns:a16="http://schemas.microsoft.com/office/drawing/2014/main" id="{F7592305-B28D-F688-474F-38DE9380476F}"/>
              </a:ext>
            </a:extLst>
          </p:cNvPr>
          <p:cNvSpPr txBox="1">
            <a:spLocks/>
          </p:cNvSpPr>
          <p:nvPr/>
        </p:nvSpPr>
        <p:spPr bwMode="auto">
          <a:xfrm>
            <a:off x="2128005" y="1521976"/>
            <a:ext cx="9592940" cy="4346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  <a:normAutofit/>
          </a:bodyPr>
          <a:lstStyle>
            <a:lvl1pPr marL="228576" indent="-228576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•"/>
              <a:defRPr sz="1428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457152" indent="-209528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SzPct val="85000"/>
              <a:buFont typeface="Arial" charset="0"/>
              <a:buChar char="–"/>
              <a:defRPr sz="1428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685727" indent="-209528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•"/>
              <a:defRPr sz="102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914303" indent="-247624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–"/>
              <a:defRPr sz="102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1142879" indent="-228576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»"/>
              <a:defRPr sz="714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endParaRPr lang="cs-CZ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14000"/>
              </a:lnSpc>
            </a:pPr>
            <a:endParaRPr lang="cs-CZ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14000"/>
              </a:lnSpc>
            </a:pPr>
            <a:endParaRPr lang="cs-CZ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14000"/>
              </a:lnSpc>
            </a:pPr>
            <a:endParaRPr lang="cs-CZ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14000"/>
              </a:lnSpc>
            </a:pPr>
            <a:endParaRPr lang="cs-CZ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14000"/>
              </a:lnSpc>
            </a:pPr>
            <a:endParaRPr lang="cs-CZ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14000"/>
              </a:lnSpc>
            </a:pPr>
            <a:endParaRPr lang="cs-CZ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14000"/>
              </a:lnSpc>
            </a:pPr>
            <a:endParaRPr lang="cs-CZ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14000"/>
              </a:lnSpc>
            </a:pPr>
            <a:endParaRPr lang="cs-CZ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69956596-1071-B1FB-71B9-ACCF8664500A}"/>
              </a:ext>
            </a:extLst>
          </p:cNvPr>
          <p:cNvSpPr/>
          <p:nvPr/>
        </p:nvSpPr>
        <p:spPr>
          <a:xfrm>
            <a:off x="9429483" y="4218709"/>
            <a:ext cx="2379518" cy="4468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r>
              <a:rPr lang="cs-CZ" sz="1400" b="1" dirty="0">
                <a:solidFill>
                  <a:srgbClr val="7030A0"/>
                </a:solidFill>
                <a:latin typeface="Aptos" panose="020B0004020202020204" pitchFamily="34" charset="0"/>
              </a:rPr>
              <a:t>růst alfa-hemolytických streptokoků</a:t>
            </a:r>
          </a:p>
        </p:txBody>
      </p:sp>
    </p:spTree>
    <p:extLst>
      <p:ext uri="{BB962C8B-B14F-4D97-AF65-F5344CB8AC3E}">
        <p14:creationId xmlns:p14="http://schemas.microsoft.com/office/powerpoint/2010/main" val="17660556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1D5C6B-5FC9-E137-DBF7-5A44C2334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>
                <a:latin typeface="Aptos" panose="020B0004020202020204" pitchFamily="34" charset="0"/>
              </a:rPr>
              <a:t>Suspenze s příchutí banán a </a:t>
            </a:r>
            <a:r>
              <a:rPr lang="cs-CZ" sz="3200" dirty="0" err="1">
                <a:latin typeface="Aptos" panose="020B0004020202020204" pitchFamily="34" charset="0"/>
              </a:rPr>
              <a:t>guarana</a:t>
            </a:r>
            <a:endParaRPr lang="cs-CZ" sz="3200" dirty="0">
              <a:latin typeface="Aptos" panose="020B0004020202020204" pitchFamily="34" charset="0"/>
            </a:endParaRPr>
          </a:p>
        </p:txBody>
      </p:sp>
      <p:graphicFrame>
        <p:nvGraphicFramePr>
          <p:cNvPr id="3" name="Object 16">
            <a:extLst>
              <a:ext uri="{FF2B5EF4-FFF2-40B4-BE49-F238E27FC236}">
                <a16:creationId xmlns:a16="http://schemas.microsoft.com/office/drawing/2014/main" id="{E86C83A2-BF43-0FB8-AD1A-2732CBE3E56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5854337"/>
              </p:ext>
            </p:extLst>
          </p:nvPr>
        </p:nvGraphicFramePr>
        <p:xfrm>
          <a:off x="538204" y="1381990"/>
          <a:ext cx="7366207" cy="42930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3" imgW="8000000" imgH="4660317" progId="Photoshop.Image.7">
                  <p:embed/>
                </p:oleObj>
              </mc:Choice>
              <mc:Fallback>
                <p:oleObj name="Image" r:id="rId3" imgW="8000000" imgH="4660317" progId="Photoshop.Image.7">
                  <p:embed/>
                  <p:pic>
                    <p:nvPicPr>
                      <p:cNvPr id="3" name="Object 16">
                        <a:extLst>
                          <a:ext uri="{FF2B5EF4-FFF2-40B4-BE49-F238E27FC236}">
                            <a16:creationId xmlns:a16="http://schemas.microsoft.com/office/drawing/2014/main" id="{E86C83A2-BF43-0FB8-AD1A-2732CBE3E56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8204" y="1381990"/>
                        <a:ext cx="7366207" cy="42930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>
            <a:extLst>
              <a:ext uri="{FF2B5EF4-FFF2-40B4-BE49-F238E27FC236}">
                <a16:creationId xmlns:a16="http://schemas.microsoft.com/office/drawing/2014/main" id="{CCA25D0B-08D8-FF33-F814-38F4C6D465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204" y="5889844"/>
            <a:ext cx="3041217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cs-CZ" sz="1100" b="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cs-CZ" altLang="cs-CZ" sz="1100" b="0" dirty="0" err="1">
                <a:solidFill>
                  <a:srgbClr val="000000"/>
                </a:solidFill>
                <a:latin typeface="Aptos" panose="020B0004020202020204" pitchFamily="34" charset="0"/>
              </a:rPr>
              <a:t>Steele</a:t>
            </a:r>
            <a:r>
              <a:rPr lang="cs-CZ" altLang="cs-CZ" sz="1100" b="0" dirty="0">
                <a:solidFill>
                  <a:srgbClr val="000000"/>
                </a:solidFill>
                <a:latin typeface="Aptos" panose="020B0004020202020204" pitchFamily="34" charset="0"/>
              </a:rPr>
              <a:t> RW et al: </a:t>
            </a:r>
            <a:r>
              <a:rPr lang="cs-CZ" altLang="cs-CZ" sz="1100" b="0" dirty="0" err="1">
                <a:solidFill>
                  <a:srgbClr val="000000"/>
                </a:solidFill>
                <a:latin typeface="Aptos" panose="020B0004020202020204" pitchFamily="34" charset="0"/>
              </a:rPr>
              <a:t>Clin</a:t>
            </a:r>
            <a:r>
              <a:rPr lang="cs-CZ" altLang="cs-CZ" sz="1100" b="0" dirty="0">
                <a:solidFill>
                  <a:srgbClr val="000000"/>
                </a:solidFill>
                <a:latin typeface="Aptos" panose="020B0004020202020204" pitchFamily="34" charset="0"/>
              </a:rPr>
              <a:t>. </a:t>
            </a:r>
            <a:r>
              <a:rPr lang="cs-CZ" altLang="cs-CZ" sz="1100" b="0" dirty="0" err="1">
                <a:solidFill>
                  <a:srgbClr val="000000"/>
                </a:solidFill>
                <a:latin typeface="Aptos" panose="020B0004020202020204" pitchFamily="34" charset="0"/>
              </a:rPr>
              <a:t>Ped</a:t>
            </a:r>
            <a:r>
              <a:rPr lang="cs-CZ" altLang="cs-CZ" sz="1100" b="0" dirty="0">
                <a:solidFill>
                  <a:srgbClr val="000000"/>
                </a:solidFill>
                <a:latin typeface="Aptos" panose="020B0004020202020204" pitchFamily="34" charset="0"/>
              </a:rPr>
              <a:t>., 1997,36,4:193-199.</a:t>
            </a:r>
            <a:endParaRPr lang="en-US" altLang="cs-CZ" sz="1100" b="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12AE467B-83B1-DF94-124E-A553E894B3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73861" y="3799539"/>
            <a:ext cx="2974246" cy="1480740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B241C3C5-0BA2-4600-7783-4B3EE4D59C39}"/>
              </a:ext>
            </a:extLst>
          </p:cNvPr>
          <p:cNvSpPr txBox="1"/>
          <p:nvPr/>
        </p:nvSpPr>
        <p:spPr>
          <a:xfrm>
            <a:off x="8149070" y="1359485"/>
            <a:ext cx="362382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2000" b="1" i="1" u="none" strike="noStrike" baseline="0" dirty="0" err="1">
                <a:solidFill>
                  <a:srgbClr val="40B3FF"/>
                </a:solidFill>
                <a:latin typeface="Aptos" panose="020B0004020202020204" pitchFamily="34" charset="0"/>
              </a:rPr>
              <a:t>cefprozil</a:t>
            </a:r>
            <a:r>
              <a:rPr lang="cs-CZ" sz="2000" b="1" i="1" u="none" strike="noStrike" baseline="0" dirty="0">
                <a:solidFill>
                  <a:srgbClr val="40B3FF"/>
                </a:solidFill>
                <a:latin typeface="Aptos" panose="020B0004020202020204" pitchFamily="34" charset="0"/>
              </a:rPr>
              <a:t> vs </a:t>
            </a:r>
            <a:r>
              <a:rPr lang="cs-CZ" sz="2000" b="1" i="1" u="none" strike="noStrike" baseline="0" dirty="0" err="1">
                <a:solidFill>
                  <a:srgbClr val="40B3FF"/>
                </a:solidFill>
                <a:latin typeface="Aptos" panose="020B0004020202020204" pitchFamily="34" charset="0"/>
              </a:rPr>
              <a:t>cefuroxim</a:t>
            </a:r>
            <a:r>
              <a:rPr lang="cs-CZ" sz="2000" b="1" i="1" u="none" strike="noStrike" baseline="0" dirty="0">
                <a:solidFill>
                  <a:srgbClr val="40B3FF"/>
                </a:solidFill>
                <a:latin typeface="Aptos" panose="020B0004020202020204" pitchFamily="34" charset="0"/>
              </a:rPr>
              <a:t> </a:t>
            </a:r>
            <a:r>
              <a:rPr lang="cs-CZ" sz="2000" b="1" i="1" u="none" strike="noStrike" baseline="0" dirty="0" err="1">
                <a:solidFill>
                  <a:srgbClr val="40B3FF"/>
                </a:solidFill>
                <a:latin typeface="Aptos" panose="020B0004020202020204" pitchFamily="34" charset="0"/>
              </a:rPr>
              <a:t>axetil</a:t>
            </a:r>
            <a:endParaRPr lang="cs-CZ" sz="2000" b="1" i="1" u="none" strike="noStrike" baseline="0" dirty="0">
              <a:solidFill>
                <a:srgbClr val="40B3FF"/>
              </a:solidFill>
              <a:latin typeface="Aptos" panose="020B0004020202020204" pitchFamily="34" charset="0"/>
            </a:endParaRPr>
          </a:p>
          <a:p>
            <a:pPr algn="l"/>
            <a:endParaRPr lang="cs-CZ" sz="2000" b="1" i="1" dirty="0">
              <a:solidFill>
                <a:srgbClr val="40B3FF"/>
              </a:solidFill>
              <a:latin typeface="Aptos" panose="020B0004020202020204" pitchFamily="34" charset="0"/>
            </a:endParaRPr>
          </a:p>
          <a:p>
            <a:pPr algn="l"/>
            <a:r>
              <a:rPr lang="cs-CZ" sz="2000" b="1" i="1" u="none" strike="noStrike" baseline="0" dirty="0">
                <a:solidFill>
                  <a:srgbClr val="40B3FF"/>
                </a:solidFill>
                <a:latin typeface="Aptos" panose="020B0004020202020204" pitchFamily="34" charset="0"/>
              </a:rPr>
              <a:t>LEPŠÍ </a:t>
            </a:r>
            <a:r>
              <a:rPr lang="cs-CZ" sz="2000" b="1" i="1" u="none" strike="noStrike" baseline="0" dirty="0">
                <a:solidFill>
                  <a:srgbClr val="002D84"/>
                </a:solidFill>
                <a:latin typeface="Aptos" panose="020B0004020202020204" pitchFamily="34" charset="0"/>
              </a:rPr>
              <a:t>CHU</a:t>
            </a:r>
            <a:r>
              <a:rPr lang="cs-CZ" sz="2000" b="1" i="1" dirty="0">
                <a:solidFill>
                  <a:srgbClr val="002D84"/>
                </a:solidFill>
                <a:latin typeface="Aptos" panose="020B0004020202020204" pitchFamily="34" charset="0"/>
              </a:rPr>
              <a:t>Ť </a:t>
            </a:r>
            <a:r>
              <a:rPr lang="cs-CZ" sz="2000" b="1" i="1" u="none" strike="noStrike" baseline="0" dirty="0">
                <a:solidFill>
                  <a:srgbClr val="002D84"/>
                </a:solidFill>
                <a:latin typeface="Aptos" panose="020B0004020202020204" pitchFamily="34" charset="0"/>
              </a:rPr>
              <a:t>SUSPENZE/</a:t>
            </a:r>
          </a:p>
          <a:p>
            <a:pPr algn="l"/>
            <a:r>
              <a:rPr lang="cs-CZ" sz="2000" b="1" i="1" u="none" strike="noStrike" baseline="0" dirty="0">
                <a:solidFill>
                  <a:srgbClr val="40B3FF"/>
                </a:solidFill>
                <a:latin typeface="Aptos" panose="020B0004020202020204" pitchFamily="34" charset="0"/>
              </a:rPr>
              <a:t>POLOVIČNÍ </a:t>
            </a:r>
            <a:r>
              <a:rPr lang="cs-CZ" sz="2000" b="1" i="1" u="none" strike="noStrike" baseline="0" dirty="0">
                <a:solidFill>
                  <a:srgbClr val="002D84"/>
                </a:solidFill>
                <a:latin typeface="Aptos" panose="020B0004020202020204" pitchFamily="34" charset="0"/>
              </a:rPr>
              <a:t>OBJEM</a:t>
            </a:r>
            <a:endParaRPr lang="cs-CZ" sz="2000" b="1" dirty="0">
              <a:latin typeface="Aptos" panose="020B0004020202020204" pitchFamily="34" charset="0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83FF6F6-1E42-BE0C-EDB9-727F1B8DAF29}"/>
              </a:ext>
            </a:extLst>
          </p:cNvPr>
          <p:cNvSpPr txBox="1"/>
          <p:nvPr/>
        </p:nvSpPr>
        <p:spPr>
          <a:xfrm>
            <a:off x="598243" y="6151454"/>
            <a:ext cx="1099551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Porovnání potřebného objemu suspenzí pro dosažení léčebné dávky; CEFZIL O.S. 250 MG POR PLV SUS 60ML, ZINNAT 125MG POR GRA SUS 50ML; </a:t>
            </a:r>
            <a:b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SPC</a:t>
            </a:r>
            <a:r>
              <a:rPr lang="cs-CZ" sz="1100" b="0" i="0" u="none" strike="noStrike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cs-CZ" sz="1100" b="0" i="0" u="none" strike="noStrike" baseline="0" dirty="0" err="1">
                <a:solidFill>
                  <a:srgbClr val="000000"/>
                </a:solidFill>
                <a:latin typeface="Aptos" panose="020B0004020202020204" pitchFamily="34" charset="0"/>
              </a:rPr>
              <a:t>Cefzil</a:t>
            </a:r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 a </a:t>
            </a:r>
            <a:r>
              <a:rPr lang="cs-CZ" sz="1100" b="0" i="0" u="none" strike="noStrike" baseline="0" dirty="0" err="1">
                <a:solidFill>
                  <a:srgbClr val="000000"/>
                </a:solidFill>
                <a:latin typeface="Aptos" panose="020B0004020202020204" pitchFamily="34" charset="0"/>
              </a:rPr>
              <a:t>Zinnat</a:t>
            </a:r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,</a:t>
            </a:r>
            <a:r>
              <a:rPr lang="cs-CZ" sz="1100" b="0" i="0" u="none" strike="noStrike" dirty="0">
                <a:solidFill>
                  <a:srgbClr val="000000"/>
                </a:solidFill>
                <a:latin typeface="Aptos" panose="020B0004020202020204" pitchFamily="34" charset="0"/>
              </a:rPr>
              <a:t> v aktuální verzi textu</a:t>
            </a:r>
            <a:endParaRPr lang="cs-CZ" sz="28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738C3D90-2A12-FACB-AA03-ECF6E8D8309F}"/>
              </a:ext>
            </a:extLst>
          </p:cNvPr>
          <p:cNvSpPr txBox="1"/>
          <p:nvPr/>
        </p:nvSpPr>
        <p:spPr>
          <a:xfrm>
            <a:off x="8149070" y="2820647"/>
            <a:ext cx="382125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2000" b="1" i="0" u="none" strike="noStrike" baseline="0" dirty="0">
                <a:solidFill>
                  <a:srgbClr val="002D84"/>
                </a:solidFill>
                <a:latin typeface="Aptos" panose="020B0004020202020204" pitchFamily="34" charset="0"/>
              </a:rPr>
              <a:t>50 mg </a:t>
            </a:r>
            <a:r>
              <a:rPr lang="cs-CZ" sz="2000" b="1" i="0" u="none" strike="noStrike" baseline="0" dirty="0" err="1">
                <a:solidFill>
                  <a:srgbClr val="002D84"/>
                </a:solidFill>
                <a:latin typeface="Aptos" panose="020B0004020202020204" pitchFamily="34" charset="0"/>
              </a:rPr>
              <a:t>cefprozilu</a:t>
            </a:r>
            <a:r>
              <a:rPr lang="cs-CZ" sz="2000" b="1" i="0" u="none" strike="noStrike" baseline="0" dirty="0">
                <a:solidFill>
                  <a:srgbClr val="002D84"/>
                </a:solidFill>
                <a:latin typeface="Aptos" panose="020B0004020202020204" pitchFamily="34" charset="0"/>
              </a:rPr>
              <a:t> / 1 ml </a:t>
            </a:r>
          </a:p>
          <a:p>
            <a:pPr algn="l"/>
            <a:r>
              <a:rPr lang="cs-CZ" sz="2000" b="1" dirty="0">
                <a:solidFill>
                  <a:srgbClr val="002D84"/>
                </a:solidFill>
                <a:latin typeface="Aptos" panose="020B0004020202020204" pitchFamily="34" charset="0"/>
              </a:rPr>
              <a:t>25 mg </a:t>
            </a:r>
            <a:r>
              <a:rPr lang="cs-CZ" sz="2000" b="1" dirty="0" err="1">
                <a:solidFill>
                  <a:srgbClr val="002D84"/>
                </a:solidFill>
                <a:latin typeface="Aptos" panose="020B0004020202020204" pitchFamily="34" charset="0"/>
              </a:rPr>
              <a:t>cefuroxim</a:t>
            </a:r>
            <a:r>
              <a:rPr lang="cs-CZ" sz="2000" b="1" dirty="0">
                <a:solidFill>
                  <a:srgbClr val="002D84"/>
                </a:solidFill>
                <a:latin typeface="Aptos" panose="020B0004020202020204" pitchFamily="34" charset="0"/>
              </a:rPr>
              <a:t> </a:t>
            </a:r>
            <a:r>
              <a:rPr lang="cs-CZ" sz="2000" b="1" dirty="0" err="1">
                <a:solidFill>
                  <a:srgbClr val="002D84"/>
                </a:solidFill>
                <a:latin typeface="Aptos" panose="020B0004020202020204" pitchFamily="34" charset="0"/>
              </a:rPr>
              <a:t>axetilu</a:t>
            </a:r>
            <a:r>
              <a:rPr lang="cs-CZ" sz="2000" b="1" dirty="0">
                <a:solidFill>
                  <a:srgbClr val="002D84"/>
                </a:solidFill>
                <a:latin typeface="Aptos" panose="020B0004020202020204" pitchFamily="34" charset="0"/>
              </a:rPr>
              <a:t> / 1 ml </a:t>
            </a:r>
            <a:endParaRPr lang="cs-CZ" sz="4800" b="1" dirty="0"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400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21378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0B365A82-8CCE-9B1D-8471-7D20D0E933C6}"/>
              </a:ext>
            </a:extLst>
          </p:cNvPr>
          <p:cNvSpPr/>
          <p:nvPr/>
        </p:nvSpPr>
        <p:spPr>
          <a:xfrm>
            <a:off x="3418609" y="2836718"/>
            <a:ext cx="5413664" cy="10702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5400" b="1" dirty="0">
                <a:solidFill>
                  <a:srgbClr val="00A1E4"/>
                </a:solidFill>
                <a:latin typeface="Aptos" panose="020B0004020202020204" pitchFamily="34" charset="0"/>
              </a:rPr>
              <a:t>BACK UP SLIDES</a:t>
            </a:r>
          </a:p>
        </p:txBody>
      </p:sp>
    </p:spTree>
    <p:extLst>
      <p:ext uri="{BB962C8B-B14F-4D97-AF65-F5344CB8AC3E}">
        <p14:creationId xmlns:p14="http://schemas.microsoft.com/office/powerpoint/2010/main" val="15601317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B7FDEF7D-B3AF-9B5D-21E3-841A3DA9FB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3" y="993930"/>
            <a:ext cx="11053233" cy="5118100"/>
          </a:xfrm>
        </p:spPr>
        <p:txBody>
          <a:bodyPr/>
          <a:lstStyle/>
          <a:p>
            <a:r>
              <a:rPr lang="cs-CZ" sz="16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erorální cefalosporin II. generace se širokým spektrem účinku</a:t>
            </a:r>
          </a:p>
          <a:p>
            <a:r>
              <a:rPr lang="cs-CZ" sz="16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Mechanismus účinku: inhibice syntézy buněčné stěny bakterií </a:t>
            </a:r>
          </a:p>
          <a:p>
            <a:r>
              <a:rPr lang="cs-CZ" sz="16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oměrně odolný vůči většině beta-</a:t>
            </a:r>
            <a:r>
              <a:rPr lang="cs-CZ" sz="16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laktamáz</a:t>
            </a:r>
            <a:endParaRPr lang="cs-CZ" sz="16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  <a:p>
            <a:endParaRPr lang="cs-CZ" sz="18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11FD4F62-BE94-D10B-D498-3946F31F2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 err="1">
                <a:latin typeface="Aptos" panose="020B0004020202020204" pitchFamily="34" charset="0"/>
              </a:rPr>
              <a:t>Cefprozil</a:t>
            </a:r>
            <a:endParaRPr lang="cs-CZ" sz="3200" dirty="0">
              <a:latin typeface="Aptos" panose="020B0004020202020204" pitchFamily="34" charset="0"/>
            </a:endParaRPr>
          </a:p>
        </p:txBody>
      </p:sp>
      <p:pic>
        <p:nvPicPr>
          <p:cNvPr id="4" name="Obrázek 3" descr="Obsah obrázku text&#10;&#10;Popis vygenerován s vysokou mírou spolehlivosti">
            <a:extLst>
              <a:ext uri="{FF2B5EF4-FFF2-40B4-BE49-F238E27FC236}">
                <a16:creationId xmlns:a16="http://schemas.microsoft.com/office/drawing/2014/main" id="{1025FBA8-E647-16C1-31C7-F24BF4F21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5281" y="-1774"/>
            <a:ext cx="2036719" cy="149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Tabulka 5">
            <a:extLst>
              <a:ext uri="{FF2B5EF4-FFF2-40B4-BE49-F238E27FC236}">
                <a16:creationId xmlns:a16="http://schemas.microsoft.com/office/drawing/2014/main" id="{1F448794-A986-2EBF-0627-F71CC84B5A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9242992"/>
              </p:ext>
            </p:extLst>
          </p:nvPr>
        </p:nvGraphicFramePr>
        <p:xfrm>
          <a:off x="767966" y="2058712"/>
          <a:ext cx="11053234" cy="469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7203">
                  <a:extLst>
                    <a:ext uri="{9D8B030D-6E8A-4147-A177-3AD203B41FA5}">
                      <a16:colId xmlns:a16="http://schemas.microsoft.com/office/drawing/2014/main" val="612405572"/>
                    </a:ext>
                  </a:extLst>
                </a:gridCol>
                <a:gridCol w="4385152">
                  <a:extLst>
                    <a:ext uri="{9D8B030D-6E8A-4147-A177-3AD203B41FA5}">
                      <a16:colId xmlns:a16="http://schemas.microsoft.com/office/drawing/2014/main" val="962043695"/>
                    </a:ext>
                  </a:extLst>
                </a:gridCol>
                <a:gridCol w="3160879">
                  <a:extLst>
                    <a:ext uri="{9D8B030D-6E8A-4147-A177-3AD203B41FA5}">
                      <a16:colId xmlns:a16="http://schemas.microsoft.com/office/drawing/2014/main" val="317516489"/>
                    </a:ext>
                  </a:extLst>
                </a:gridCol>
              </a:tblGrid>
              <a:tr h="309235">
                <a:tc>
                  <a:txBody>
                    <a:bodyPr/>
                    <a:lstStyle/>
                    <a:p>
                      <a:r>
                        <a:rPr lang="cs-CZ" sz="1600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Gram +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Gram 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Anaerob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18051547"/>
                  </a:ext>
                </a:extLst>
              </a:tr>
              <a:tr h="500656">
                <a:tc>
                  <a:txBody>
                    <a:bodyPr/>
                    <a:lstStyle/>
                    <a:p>
                      <a:r>
                        <a:rPr lang="cs-CZ" sz="1600" b="1" i="1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Streptococcus pyogen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Moraxella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catarrhalis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b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</a:br>
                      <a:r>
                        <a:rPr lang="cs-CZ" sz="1400" b="0" i="0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(včetně kmenů produkujících beta-</a:t>
                      </a:r>
                      <a:r>
                        <a:rPr lang="cs-CZ" sz="1400" b="0" i="0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laktamázu</a:t>
                      </a:r>
                      <a:r>
                        <a:rPr lang="cs-CZ" sz="1400" b="0" i="0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) </a:t>
                      </a:r>
                      <a:r>
                        <a:rPr lang="cs-CZ" sz="1400" b="1" i="0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endParaRPr lang="cs-CZ" sz="1400" i="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Bacteroides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melaninogenicus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endParaRPr lang="cs-CZ" sz="105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5558716"/>
                  </a:ext>
                </a:extLst>
              </a:tr>
              <a:tr h="500656">
                <a:tc>
                  <a:txBody>
                    <a:bodyPr/>
                    <a:lstStyle/>
                    <a:p>
                      <a:r>
                        <a:rPr lang="cs-CZ" sz="1600" b="1" i="1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Streptococcus </a:t>
                      </a:r>
                      <a:r>
                        <a:rPr lang="cs-CZ" sz="1600" b="1" i="1" dirty="0" err="1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pneumoniae</a:t>
                      </a:r>
                      <a:endParaRPr lang="cs-CZ" sz="1600" b="1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Haemophilus </a:t>
                      </a:r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influenzae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b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</a:br>
                      <a:r>
                        <a:rPr lang="cs-CZ" sz="1400" b="0" i="0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(včetně kmenů produkujících beta-</a:t>
                      </a:r>
                      <a:r>
                        <a:rPr lang="cs-CZ" sz="1400" b="0" i="0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laktamázu</a:t>
                      </a:r>
                      <a:r>
                        <a:rPr lang="cs-CZ" sz="1400" b="0" i="0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)</a:t>
                      </a:r>
                      <a:r>
                        <a:rPr lang="cs-CZ" sz="1400" b="1" i="0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endParaRPr lang="cs-CZ" sz="1050" i="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Clostridium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difficile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endParaRPr lang="cs-CZ" sz="800" b="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6472857"/>
                  </a:ext>
                </a:extLst>
              </a:tr>
              <a:tr h="305957">
                <a:tc>
                  <a:txBody>
                    <a:bodyPr/>
                    <a:lstStyle/>
                    <a:p>
                      <a:r>
                        <a:rPr lang="cs-CZ" sz="1600" i="1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Str. </a:t>
                      </a:r>
                      <a:r>
                        <a:rPr lang="cs-CZ" sz="1600" i="1" dirty="0" err="1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agalactiae</a:t>
                      </a:r>
                      <a:endParaRPr lang="cs-CZ" sz="16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Citrobacter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diversus</a:t>
                      </a:r>
                      <a:endParaRPr lang="cs-CZ" sz="11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Clostridium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perfringens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endParaRPr lang="cs-CZ" sz="9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63954739"/>
                  </a:ext>
                </a:extLst>
              </a:tr>
              <a:tr h="305957">
                <a:tc>
                  <a:txBody>
                    <a:bodyPr/>
                    <a:lstStyle/>
                    <a:p>
                      <a:r>
                        <a:rPr lang="cs-CZ" sz="1600" i="1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Str. C, D, F, 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Escherichia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coli</a:t>
                      </a:r>
                      <a:endParaRPr lang="cs-CZ" sz="1600" b="1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Fusobacterium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p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. </a:t>
                      </a:r>
                      <a:endParaRPr lang="cs-CZ" sz="11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09987813"/>
                  </a:ext>
                </a:extLst>
              </a:tr>
              <a:tr h="305957">
                <a:tc>
                  <a:txBody>
                    <a:bodyPr/>
                    <a:lstStyle/>
                    <a:p>
                      <a:r>
                        <a:rPr lang="cs-CZ" sz="1600" i="1" dirty="0" err="1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viridující</a:t>
                      </a:r>
                      <a:r>
                        <a:rPr lang="cs-CZ" sz="1600" i="1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 streptokok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Klebsiella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pneumoniae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endParaRPr lang="cs-CZ" sz="1600" b="1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Peptostreptococcus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p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.</a:t>
                      </a:r>
                      <a:endParaRPr lang="cs-CZ" sz="11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57720445"/>
                  </a:ext>
                </a:extLst>
              </a:tr>
              <a:tr h="528471">
                <a:tc>
                  <a:txBody>
                    <a:bodyPr/>
                    <a:lstStyle/>
                    <a:p>
                      <a:r>
                        <a:rPr lang="cs-CZ" sz="1600" b="1" i="1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Staphylococcus aureus citlivý na </a:t>
                      </a:r>
                      <a:r>
                        <a:rPr lang="cs-CZ" sz="1600" b="1" i="1" dirty="0" err="1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methicilin</a:t>
                      </a:r>
                      <a:endParaRPr lang="cs-CZ" sz="1600" b="1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Neisseria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gonorrhoeae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b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</a:br>
                      <a:r>
                        <a:rPr lang="cs-CZ" sz="1400" b="0" i="0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(včetně kmenů produkujících </a:t>
                      </a:r>
                      <a:r>
                        <a:rPr lang="cs-CZ" sz="1400" b="0" i="0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penicilinázu</a:t>
                      </a:r>
                      <a:r>
                        <a:rPr lang="cs-CZ" sz="1400" b="0" i="0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) </a:t>
                      </a:r>
                      <a:endParaRPr lang="cs-CZ" sz="1050" i="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Propionibacterium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acnes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endParaRPr lang="cs-CZ" sz="8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188888"/>
                  </a:ext>
                </a:extLst>
              </a:tr>
              <a:tr h="305957"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.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epidermidis</a:t>
                      </a:r>
                      <a:endParaRPr lang="cs-CZ" sz="16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Proteus </a:t>
                      </a:r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mirabilis</a:t>
                      </a:r>
                      <a:endParaRPr lang="cs-CZ" sz="1600" b="1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cs-CZ" sz="16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5691436"/>
                  </a:ext>
                </a:extLst>
              </a:tr>
              <a:tr h="305957"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.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aprophyticus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endParaRPr lang="cs-CZ" sz="16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almonella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p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cs-CZ" sz="1600" b="0" i="1" u="none" strike="noStrike" kern="1200" baseline="0" dirty="0">
                        <a:solidFill>
                          <a:schemeClr val="dk1"/>
                        </a:solidFill>
                        <a:latin typeface="Aptos" panose="020B00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68103892"/>
                  </a:ext>
                </a:extLst>
              </a:tr>
              <a:tr h="305957"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.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warneri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endParaRPr lang="cs-CZ" sz="16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higella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1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p</a:t>
                      </a:r>
                      <a:r>
                        <a:rPr lang="cs-CZ" sz="1600" b="1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cs-CZ" sz="1600" b="0" i="1" u="none" strike="noStrike" kern="1200" baseline="0" dirty="0">
                        <a:solidFill>
                          <a:schemeClr val="dk1"/>
                        </a:solidFill>
                        <a:latin typeface="Aptos" panose="020B00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2809359"/>
                  </a:ext>
                </a:extLst>
              </a:tr>
              <a:tr h="305957">
                <a:tc>
                  <a:txBody>
                    <a:bodyPr/>
                    <a:lstStyle/>
                    <a:p>
                      <a:r>
                        <a:rPr lang="cs-CZ" sz="1600" b="1" i="1" dirty="0" err="1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Listeria</a:t>
                      </a:r>
                      <a:r>
                        <a:rPr lang="cs-CZ" sz="1600" b="1" i="1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b="1" i="1" dirty="0" err="1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monocytogenes</a:t>
                      </a:r>
                      <a:endParaRPr lang="cs-CZ" sz="1600" b="1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Vibrio </a:t>
                      </a:r>
                      <a:r>
                        <a:rPr lang="cs-CZ" sz="1600" b="0" i="1" u="none" strike="noStrike" kern="1200" baseline="0" dirty="0" err="1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sp</a:t>
                      </a:r>
                      <a:r>
                        <a:rPr lang="cs-CZ" sz="1600" b="0" i="1" u="none" strike="noStrike" kern="1200" baseline="0" dirty="0">
                          <a:solidFill>
                            <a:schemeClr val="dk1"/>
                          </a:solidFill>
                          <a:latin typeface="Aptos" panose="020B0004020202020204" pitchFamily="34" charset="0"/>
                          <a:ea typeface="+mn-ea"/>
                          <a:cs typeface="Helvetica" panose="020B0604020202020204" pitchFamily="34" charset="0"/>
                        </a:rPr>
                        <a:t>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cs-CZ" sz="1600" b="0" i="1" u="none" strike="noStrike" kern="1200" baseline="0" dirty="0">
                        <a:solidFill>
                          <a:schemeClr val="dk1"/>
                        </a:solidFill>
                        <a:latin typeface="Aptos" panose="020B00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4378062"/>
                  </a:ext>
                </a:extLst>
              </a:tr>
              <a:tr h="305957">
                <a:tc>
                  <a:txBody>
                    <a:bodyPr/>
                    <a:lstStyle/>
                    <a:p>
                      <a:pPr marL="0" marR="0" lvl="0" indent="0" algn="l" defTabSz="4571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i="1" dirty="0" err="1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Enterococcus</a:t>
                      </a:r>
                      <a:r>
                        <a:rPr lang="cs-CZ" sz="1600" i="1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cs-CZ" sz="1600" i="1" dirty="0" err="1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durans</a:t>
                      </a:r>
                      <a:endParaRPr lang="cs-CZ" sz="16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cs-CZ" sz="16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cs-CZ" sz="1600" i="1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06937854"/>
                  </a:ext>
                </a:extLst>
              </a:tr>
            </a:tbl>
          </a:graphicData>
        </a:graphic>
      </p:graphicFrame>
      <p:sp>
        <p:nvSpPr>
          <p:cNvPr id="6" name="Rectangle: Rounded Corners 6">
            <a:extLst>
              <a:ext uri="{FF2B5EF4-FFF2-40B4-BE49-F238E27FC236}">
                <a16:creationId xmlns:a16="http://schemas.microsoft.com/office/drawing/2014/main" id="{24D42D13-2488-6398-E861-AAE003B8D723}"/>
              </a:ext>
            </a:extLst>
          </p:cNvPr>
          <p:cNvSpPr/>
          <p:nvPr/>
        </p:nvSpPr>
        <p:spPr>
          <a:xfrm>
            <a:off x="9527071" y="1682713"/>
            <a:ext cx="2034165" cy="35786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SPC </a:t>
            </a: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zil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v aktuální verzi textu</a:t>
            </a:r>
          </a:p>
        </p:txBody>
      </p:sp>
    </p:spTree>
    <p:extLst>
      <p:ext uri="{BB962C8B-B14F-4D97-AF65-F5344CB8AC3E}">
        <p14:creationId xmlns:p14="http://schemas.microsoft.com/office/powerpoint/2010/main" val="25472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6435654E-04A3-6B53-9560-877C69D412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940" y="0"/>
            <a:ext cx="97781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9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177CF74F-53FB-5621-0026-9C2F121F3232}"/>
              </a:ext>
            </a:extLst>
          </p:cNvPr>
          <p:cNvSpPr/>
          <p:nvPr/>
        </p:nvSpPr>
        <p:spPr>
          <a:xfrm>
            <a:off x="363682" y="653146"/>
            <a:ext cx="11430000" cy="311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7773E6E-CA78-A9A7-C4D4-ED8D0A8BD5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699" y="182283"/>
            <a:ext cx="5424872" cy="941726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E6C3240-067B-154A-F317-7E6CB66316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3408" y="502324"/>
            <a:ext cx="4483893" cy="435934"/>
          </a:xfrm>
          <a:prstGeom prst="rect">
            <a:avLst/>
          </a:prstGeom>
        </p:spPr>
      </p:pic>
      <p:sp>
        <p:nvSpPr>
          <p:cNvPr id="7" name="Zástupný text 1">
            <a:extLst>
              <a:ext uri="{FF2B5EF4-FFF2-40B4-BE49-F238E27FC236}">
                <a16:creationId xmlns:a16="http://schemas.microsoft.com/office/drawing/2014/main" id="{65FF21B7-3D44-FB92-6523-6F4778DF8B0E}"/>
              </a:ext>
            </a:extLst>
          </p:cNvPr>
          <p:cNvSpPr txBox="1">
            <a:spLocks/>
          </p:cNvSpPr>
          <p:nvPr/>
        </p:nvSpPr>
        <p:spPr>
          <a:xfrm>
            <a:off x="764699" y="1256734"/>
            <a:ext cx="5028334" cy="5118100"/>
          </a:xfrm>
          <a:prstGeom prst="rect">
            <a:avLst/>
          </a:prstGeom>
        </p:spPr>
        <p:txBody>
          <a:bodyPr/>
          <a:lstStyle>
            <a:lvl1pPr marL="228576" indent="-228576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•"/>
              <a:defRPr sz="1428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457152" indent="-209528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SzPct val="85000"/>
              <a:buFont typeface="Arial" charset="0"/>
              <a:buChar char="–"/>
              <a:defRPr sz="1428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685727" indent="-209528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•"/>
              <a:defRPr sz="102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914303" indent="-247624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–"/>
              <a:defRPr sz="102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1142879" indent="-228576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»"/>
              <a:defRPr sz="714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 err="1">
                <a:solidFill>
                  <a:srgbClr val="000000"/>
                </a:solidFill>
                <a:latin typeface="Aptos" panose="020B0004020202020204" pitchFamily="34" charset="0"/>
              </a:rPr>
              <a:t>Although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cs-CZ" sz="1800" dirty="0" err="1">
                <a:solidFill>
                  <a:srgbClr val="000000"/>
                </a:solidFill>
                <a:latin typeface="Aptos" panose="020B0004020202020204" pitchFamily="34" charset="0"/>
              </a:rPr>
              <a:t>historically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Aptos" panose="020B0004020202020204" pitchFamily="34" charset="0"/>
              </a:rPr>
              <a:t>cephalosporins have been avoided in reported penicillin allergy,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Aptos" panose="020B0004020202020204" pitchFamily="34" charset="0"/>
              </a:rPr>
              <a:t>recent literature supports </a:t>
            </a:r>
            <a:r>
              <a:rPr lang="en-US" sz="1800" b="1" dirty="0">
                <a:solidFill>
                  <a:srgbClr val="000000"/>
                </a:solidFill>
                <a:latin typeface="Aptos" panose="020B0004020202020204" pitchFamily="34" charset="0"/>
              </a:rPr>
              <a:t>the safety of its administration </a:t>
            </a:r>
            <a:r>
              <a:rPr lang="en-US" sz="1800" dirty="0">
                <a:solidFill>
                  <a:srgbClr val="000000"/>
                </a:solidFill>
                <a:latin typeface="Aptos" panose="020B0004020202020204" pitchFamily="34" charset="0"/>
              </a:rPr>
              <a:t>in this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Aptos" panose="020B0004020202020204" pitchFamily="34" charset="0"/>
              </a:rPr>
              <a:t>patient population. 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It </a:t>
            </a:r>
            <a:r>
              <a:rPr lang="cs-CZ" sz="1800" dirty="0" err="1">
                <a:solidFill>
                  <a:srgbClr val="000000"/>
                </a:solidFill>
                <a:latin typeface="Aptos" panose="020B0004020202020204" pitchFamily="34" charset="0"/>
              </a:rPr>
              <a:t>is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Aptos" panose="020B0004020202020204" pitchFamily="34" charset="0"/>
              </a:rPr>
              <a:t>suggested that patients with </a:t>
            </a:r>
            <a:r>
              <a:rPr lang="en-US" sz="1800" dirty="0" err="1">
                <a:solidFill>
                  <a:srgbClr val="000000"/>
                </a:solidFill>
                <a:latin typeface="Aptos" panose="020B0004020202020204" pitchFamily="34" charset="0"/>
              </a:rPr>
              <a:t>nonanaphylactic</a:t>
            </a:r>
            <a:r>
              <a:rPr lang="en-US" sz="1800" dirty="0">
                <a:solidFill>
                  <a:srgbClr val="000000"/>
                </a:solidFill>
                <a:latin typeface="Aptos" panose="020B0004020202020204" pitchFamily="34" charset="0"/>
              </a:rPr>
              <a:t> unverified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Aptos" panose="020B0004020202020204" pitchFamily="34" charset="0"/>
              </a:rPr>
              <a:t>penicillin allergies can receive cephalosporins without testing,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Aptos" panose="020B0004020202020204" pitchFamily="34" charset="0"/>
              </a:rPr>
              <a:t>and patients with a history of anaphylaxis to penicillin can be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latin typeface="Aptos" panose="020B0004020202020204" pitchFamily="34" charset="0"/>
              </a:rPr>
              <a:t>given cephalosporins with structurally </a:t>
            </a:r>
            <a:r>
              <a:rPr lang="en-US" sz="1800" b="1" dirty="0">
                <a:solidFill>
                  <a:srgbClr val="00A1E4"/>
                </a:solidFill>
                <a:latin typeface="Aptos" panose="020B0004020202020204" pitchFamily="34" charset="0"/>
              </a:rPr>
              <a:t>dissimilar R1 side chains</a:t>
            </a:r>
            <a:r>
              <a:rPr lang="cs-CZ" sz="1800" b="1" dirty="0">
                <a:solidFill>
                  <a:srgbClr val="00A1E4"/>
                </a:solidFill>
                <a:latin typeface="Aptos" panose="020B0004020202020204" pitchFamily="34" charset="0"/>
              </a:rPr>
              <a:t> </a:t>
            </a:r>
            <a:r>
              <a:rPr lang="cs-CZ" sz="1800" dirty="0" err="1">
                <a:solidFill>
                  <a:srgbClr val="000000"/>
                </a:solidFill>
                <a:latin typeface="Aptos" panose="020B0004020202020204" pitchFamily="34" charset="0"/>
              </a:rPr>
              <a:t>without</a:t>
            </a:r>
            <a:r>
              <a:rPr lang="cs-CZ" sz="1800" dirty="0">
                <a:solidFill>
                  <a:srgbClr val="000000"/>
                </a:solidFill>
                <a:latin typeface="Aptos" panose="020B0004020202020204" pitchFamily="34" charset="0"/>
              </a:rPr>
              <a:t> testing.</a:t>
            </a:r>
          </a:p>
        </p:txBody>
      </p:sp>
      <p:sp>
        <p:nvSpPr>
          <p:cNvPr id="8" name="Zástupný text 1">
            <a:extLst>
              <a:ext uri="{FF2B5EF4-FFF2-40B4-BE49-F238E27FC236}">
                <a16:creationId xmlns:a16="http://schemas.microsoft.com/office/drawing/2014/main" id="{8980301B-D193-8C3D-4F5B-BC328508A12F}"/>
              </a:ext>
            </a:extLst>
          </p:cNvPr>
          <p:cNvSpPr txBox="1">
            <a:spLocks/>
          </p:cNvSpPr>
          <p:nvPr/>
        </p:nvSpPr>
        <p:spPr>
          <a:xfrm>
            <a:off x="6046553" y="1256734"/>
            <a:ext cx="5380748" cy="5118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228576" indent="-228576" defTabSz="457152" eaLnBrk="1" hangingPunct="1">
              <a:lnSpc>
                <a:spcPct val="125000"/>
              </a:lnSpc>
              <a:spcBef>
                <a:spcPts val="0"/>
              </a:spcBef>
              <a:buClr>
                <a:srgbClr val="00B1EA"/>
              </a:buClr>
              <a:buFont typeface="Arial" charset="0"/>
              <a:buChar char="•"/>
              <a:defRPr sz="1800">
                <a:solidFill>
                  <a:srgbClr val="000000"/>
                </a:solidFill>
                <a:latin typeface="Aptos" panose="020B0004020202020204" pitchFamily="34" charset="0"/>
              </a:defRPr>
            </a:lvl1pPr>
            <a:lvl2pPr marL="457152" indent="-209528" defTabSz="457152" eaLnBrk="1" hangingPunct="1">
              <a:lnSpc>
                <a:spcPct val="125000"/>
              </a:lnSpc>
              <a:spcBef>
                <a:spcPts val="0"/>
              </a:spcBef>
              <a:buClr>
                <a:srgbClr val="00B1EA"/>
              </a:buClr>
              <a:buSzPct val="85000"/>
              <a:buFont typeface="Arial" charset="0"/>
              <a:buChar char="–"/>
              <a:defRPr sz="1428">
                <a:latin typeface="Helvetica" pitchFamily="2" charset="0"/>
              </a:defRPr>
            </a:lvl2pPr>
            <a:lvl3pPr marL="685727" indent="-209528" defTabSz="457152" eaLnBrk="1" hangingPunct="1">
              <a:lnSpc>
                <a:spcPct val="125000"/>
              </a:lnSpc>
              <a:spcBef>
                <a:spcPts val="0"/>
              </a:spcBef>
              <a:buClr>
                <a:srgbClr val="00B1EA"/>
              </a:buClr>
              <a:buFont typeface="Arial" charset="0"/>
              <a:buChar char="•"/>
              <a:defRPr sz="1020">
                <a:latin typeface="Helvetica" pitchFamily="2" charset="0"/>
              </a:defRPr>
            </a:lvl3pPr>
            <a:lvl4pPr marL="914303" indent="-247624" defTabSz="457152" eaLnBrk="1" hangingPunct="1">
              <a:lnSpc>
                <a:spcPct val="125000"/>
              </a:lnSpc>
              <a:spcBef>
                <a:spcPts val="0"/>
              </a:spcBef>
              <a:buClr>
                <a:srgbClr val="00B1EA"/>
              </a:buClr>
              <a:buFont typeface="Arial" charset="0"/>
              <a:buChar char="–"/>
              <a:defRPr sz="1020">
                <a:latin typeface="Helvetica" pitchFamily="2" charset="0"/>
              </a:defRPr>
            </a:lvl4pPr>
            <a:lvl5pPr marL="1142879" indent="-228576" defTabSz="457152" eaLnBrk="1" hangingPunct="1">
              <a:lnSpc>
                <a:spcPct val="125000"/>
              </a:lnSpc>
              <a:spcBef>
                <a:spcPts val="0"/>
              </a:spcBef>
              <a:buClr>
                <a:srgbClr val="00B1EA"/>
              </a:buClr>
              <a:buFont typeface="Arial" charset="0"/>
              <a:buChar char="»"/>
              <a:defRPr sz="714">
                <a:latin typeface="Helvetica" pitchFamily="2" charset="0"/>
              </a:defRPr>
            </a:lvl5pPr>
            <a:lvl6pPr marL="2514333" indent="-228576" defTabSz="457152">
              <a:spcBef>
                <a:spcPct val="20000"/>
              </a:spcBef>
              <a:buFont typeface="Arial"/>
              <a:buChar char="•"/>
              <a:defRPr sz="2041">
                <a:latin typeface="+mn-lt"/>
              </a:defRPr>
            </a:lvl6pPr>
            <a:lvl7pPr marL="2971485" indent="-228576" defTabSz="457152">
              <a:spcBef>
                <a:spcPct val="20000"/>
              </a:spcBef>
              <a:buFont typeface="Arial"/>
              <a:buChar char="•"/>
              <a:defRPr sz="2041">
                <a:latin typeface="+mn-lt"/>
              </a:defRPr>
            </a:lvl7pPr>
            <a:lvl8pPr marL="3428637" indent="-228576" defTabSz="457152">
              <a:spcBef>
                <a:spcPct val="20000"/>
              </a:spcBef>
              <a:buFont typeface="Arial"/>
              <a:buChar char="•"/>
              <a:defRPr sz="2041">
                <a:latin typeface="+mn-lt"/>
              </a:defRPr>
            </a:lvl8pPr>
            <a:lvl9pPr marL="3885788" indent="-228576" defTabSz="457152">
              <a:spcBef>
                <a:spcPct val="20000"/>
              </a:spcBef>
              <a:buFont typeface="Arial"/>
              <a:buChar char="•"/>
              <a:defRPr sz="2041">
                <a:latin typeface="+mn-lt"/>
              </a:defRPr>
            </a:lvl9pPr>
          </a:lstStyle>
          <a:p>
            <a:r>
              <a:rPr lang="cs-CZ" dirty="0"/>
              <a:t> </a:t>
            </a:r>
            <a:r>
              <a:rPr lang="cs-CZ" dirty="0" err="1"/>
              <a:t>For</a:t>
            </a:r>
            <a:r>
              <a:rPr lang="cs-CZ" dirty="0"/>
              <a:t> </a:t>
            </a:r>
            <a:r>
              <a:rPr lang="cs-CZ" dirty="0" err="1"/>
              <a:t>those</a:t>
            </a:r>
            <a:r>
              <a:rPr lang="cs-CZ" dirty="0"/>
              <a:t> </a:t>
            </a:r>
            <a:r>
              <a:rPr lang="cs-CZ" dirty="0" err="1"/>
              <a:t>with</a:t>
            </a:r>
            <a:r>
              <a:rPr lang="cs-CZ" dirty="0"/>
              <a:t> type 1 hypersensitivity to </a:t>
            </a:r>
            <a:r>
              <a:rPr lang="cs-CZ" dirty="0" err="1"/>
              <a:t>penicillin</a:t>
            </a:r>
            <a:r>
              <a:rPr lang="cs-CZ" dirty="0"/>
              <a:t>, </a:t>
            </a:r>
            <a:r>
              <a:rPr lang="cs-CZ" dirty="0" err="1"/>
              <a:t>clindamycin</a:t>
            </a:r>
            <a:r>
              <a:rPr lang="cs-CZ" dirty="0"/>
              <a:t>, </a:t>
            </a:r>
            <a:r>
              <a:rPr lang="cs-CZ" dirty="0" err="1"/>
              <a:t>azithromycin</a:t>
            </a:r>
            <a:r>
              <a:rPr lang="cs-CZ" dirty="0"/>
              <a:t>, </a:t>
            </a:r>
            <a:r>
              <a:rPr lang="cs-CZ" dirty="0" err="1"/>
              <a:t>clarithromycin</a:t>
            </a:r>
            <a:r>
              <a:rPr lang="cs-CZ" dirty="0"/>
              <a:t>, and </a:t>
            </a:r>
            <a:r>
              <a:rPr lang="cs-CZ" dirty="0" err="1"/>
              <a:t>levofloxacin</a:t>
            </a:r>
            <a:r>
              <a:rPr lang="cs-CZ" dirty="0"/>
              <a:t> are </a:t>
            </a:r>
            <a:r>
              <a:rPr lang="cs-CZ" dirty="0" err="1"/>
              <a:t>reasonable</a:t>
            </a:r>
            <a:r>
              <a:rPr lang="cs-CZ" dirty="0"/>
              <a:t> </a:t>
            </a:r>
            <a:r>
              <a:rPr lang="cs-CZ" dirty="0" err="1"/>
              <a:t>alternatives</a:t>
            </a:r>
            <a:r>
              <a:rPr lang="cs-CZ" dirty="0"/>
              <a:t>. </a:t>
            </a:r>
          </a:p>
          <a:p>
            <a:r>
              <a:rPr lang="cs-CZ" dirty="0" err="1"/>
              <a:t>For</a:t>
            </a:r>
            <a:r>
              <a:rPr lang="cs-CZ" dirty="0"/>
              <a:t> </a:t>
            </a:r>
            <a:r>
              <a:rPr lang="cs-CZ" dirty="0" err="1"/>
              <a:t>children</a:t>
            </a:r>
            <a:r>
              <a:rPr lang="cs-CZ" dirty="0"/>
              <a:t> </a:t>
            </a:r>
            <a:r>
              <a:rPr lang="cs-CZ" dirty="0" err="1"/>
              <a:t>with</a:t>
            </a:r>
            <a:r>
              <a:rPr lang="cs-CZ" dirty="0"/>
              <a:t> a non-type 1 hypersensitivity to </a:t>
            </a:r>
            <a:r>
              <a:rPr lang="cs-CZ" dirty="0" err="1"/>
              <a:t>penicillin</a:t>
            </a:r>
            <a:r>
              <a:rPr lang="cs-CZ" dirty="0"/>
              <a:t>, </a:t>
            </a:r>
            <a:r>
              <a:rPr lang="cs-CZ" dirty="0" err="1"/>
              <a:t>cephalosporins</a:t>
            </a:r>
            <a:r>
              <a:rPr lang="cs-CZ" dirty="0"/>
              <a:t> such as </a:t>
            </a:r>
            <a:r>
              <a:rPr lang="cs-CZ" dirty="0" err="1"/>
              <a:t>cefixime</a:t>
            </a:r>
            <a:r>
              <a:rPr lang="cs-CZ" dirty="0"/>
              <a:t>, </a:t>
            </a:r>
            <a:r>
              <a:rPr lang="cs-CZ" dirty="0" err="1"/>
              <a:t>cefprozil</a:t>
            </a:r>
            <a:r>
              <a:rPr lang="cs-CZ" dirty="0"/>
              <a:t>, </a:t>
            </a:r>
            <a:r>
              <a:rPr lang="cs-CZ" dirty="0" err="1"/>
              <a:t>cefdinir</a:t>
            </a:r>
            <a:r>
              <a:rPr lang="cs-CZ" dirty="0"/>
              <a:t>, </a:t>
            </a:r>
            <a:r>
              <a:rPr lang="cs-CZ" dirty="0" err="1"/>
              <a:t>cefpodoxime</a:t>
            </a:r>
            <a:r>
              <a:rPr lang="cs-CZ" dirty="0"/>
              <a:t>, and </a:t>
            </a:r>
            <a:r>
              <a:rPr lang="cs-CZ" dirty="0" err="1"/>
              <a:t>cefuroxime</a:t>
            </a:r>
            <a:r>
              <a:rPr lang="cs-CZ" dirty="0"/>
              <a:t> </a:t>
            </a:r>
            <a:r>
              <a:rPr lang="cs-CZ" dirty="0" err="1"/>
              <a:t>should</a:t>
            </a:r>
            <a:r>
              <a:rPr lang="cs-CZ" dirty="0"/>
              <a:t> </a:t>
            </a:r>
            <a:r>
              <a:rPr lang="cs-CZ" dirty="0" err="1"/>
              <a:t>be</a:t>
            </a:r>
            <a:r>
              <a:rPr lang="cs-CZ" dirty="0"/>
              <a:t> </a:t>
            </a:r>
            <a:r>
              <a:rPr lang="cs-CZ" dirty="0" err="1"/>
              <a:t>considered</a:t>
            </a:r>
            <a:r>
              <a:rPr lang="cs-CZ" dirty="0"/>
              <a:t>. </a:t>
            </a:r>
          </a:p>
        </p:txBody>
      </p:sp>
      <p:sp>
        <p:nvSpPr>
          <p:cNvPr id="9" name="Rectangle: Rounded Corners 6">
            <a:extLst>
              <a:ext uri="{FF2B5EF4-FFF2-40B4-BE49-F238E27FC236}">
                <a16:creationId xmlns:a16="http://schemas.microsoft.com/office/drawing/2014/main" id="{21A54C4E-F6B8-B9F0-658A-39DBA7282273}"/>
              </a:ext>
            </a:extLst>
          </p:cNvPr>
          <p:cNvSpPr/>
          <p:nvPr/>
        </p:nvSpPr>
        <p:spPr>
          <a:xfrm>
            <a:off x="764699" y="4752172"/>
            <a:ext cx="4609363" cy="48356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Belmont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AP et al. J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Allergy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lin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Immunol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ract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2023;11(9):2933-2935.e2.</a:t>
            </a:r>
            <a:endParaRPr lang="cs-CZ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2BA2FF9D-3A7E-5D63-BCF0-F81DBF046E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4443" y="3815784"/>
            <a:ext cx="5122504" cy="1651230"/>
          </a:xfrm>
          <a:prstGeom prst="rect">
            <a:avLst/>
          </a:prstGeom>
        </p:spPr>
      </p:pic>
      <p:sp>
        <p:nvSpPr>
          <p:cNvPr id="11" name="Rectangle: Rounded Corners 6">
            <a:extLst>
              <a:ext uri="{FF2B5EF4-FFF2-40B4-BE49-F238E27FC236}">
                <a16:creationId xmlns:a16="http://schemas.microsoft.com/office/drawing/2014/main" id="{E3514C36-5554-5C8D-9275-D3C3D6CB6E0F}"/>
              </a:ext>
            </a:extLst>
          </p:cNvPr>
          <p:cNvSpPr/>
          <p:nvPr/>
        </p:nvSpPr>
        <p:spPr>
          <a:xfrm>
            <a:off x="6364443" y="5601266"/>
            <a:ext cx="3280387" cy="330657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haudhry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SB et al.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harmacy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2019, 7, 103.</a:t>
            </a:r>
            <a:endParaRPr lang="cs-CZ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51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 descr="Obsah obrázku text&#10;&#10;Popis vygenerován s vysokou mírou spolehlivosti">
            <a:extLst>
              <a:ext uri="{FF2B5EF4-FFF2-40B4-BE49-F238E27FC236}">
                <a16:creationId xmlns:a16="http://schemas.microsoft.com/office/drawing/2014/main" id="{56FD569A-54F0-3643-DCBB-7CB914D365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581" y="1549452"/>
            <a:ext cx="4062845" cy="2983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: Rounded Corners 6">
            <a:extLst>
              <a:ext uri="{FF2B5EF4-FFF2-40B4-BE49-F238E27FC236}">
                <a16:creationId xmlns:a16="http://schemas.microsoft.com/office/drawing/2014/main" id="{59FDC8FE-C10D-2F55-5202-E74500BD2451}"/>
              </a:ext>
            </a:extLst>
          </p:cNvPr>
          <p:cNvSpPr/>
          <p:nvPr/>
        </p:nvSpPr>
        <p:spPr>
          <a:xfrm>
            <a:off x="737587" y="5715852"/>
            <a:ext cx="4509823" cy="83000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SPC </a:t>
            </a: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zil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v aktuální verzi textu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Wiseman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LR et al. </a:t>
            </a: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Drugs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</a:rPr>
              <a:t>45 (2): 295-317, 1993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Nicolau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DP et al. </a:t>
            </a:r>
            <a:r>
              <a:rPr lang="pl-P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ediatr Drugs 2007; 9 (2): 119-123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Brook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I. </a:t>
            </a:r>
            <a:r>
              <a:rPr lang="pl-P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ediatr Drugs 2007; 9 (2): 119-123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Yildirim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I et al. </a:t>
            </a: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The Turkish Journal of Pediatrics 2008; 50: 120-125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C4D833F0-370F-12B1-761F-541A724A3D55}"/>
              </a:ext>
            </a:extLst>
          </p:cNvPr>
          <p:cNvSpPr/>
          <p:nvPr/>
        </p:nvSpPr>
        <p:spPr>
          <a:xfrm>
            <a:off x="373513" y="653146"/>
            <a:ext cx="11444974" cy="311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561A2F-81F9-4717-AA75-59A533BD9191}"/>
              </a:ext>
            </a:extLst>
          </p:cNvPr>
          <p:cNvSpPr txBox="1"/>
          <p:nvPr/>
        </p:nvSpPr>
        <p:spPr>
          <a:xfrm>
            <a:off x="7350614" y="1030935"/>
            <a:ext cx="4207771" cy="15696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2400" dirty="0">
                <a:solidFill>
                  <a:schemeClr val="accent2"/>
                </a:solidFill>
                <a:latin typeface="Aptos" panose="020B0004020202020204" pitchFamily="34" charset="0"/>
              </a:rPr>
              <a:t>rychlá klinická odezva</a:t>
            </a:r>
            <a:r>
              <a:rPr lang="bg-BG" sz="2400" dirty="0">
                <a:solidFill>
                  <a:schemeClr val="accent2"/>
                </a:solidFill>
                <a:latin typeface="Aptos" panose="020B0004020202020204" pitchFamily="34" charset="0"/>
              </a:rPr>
              <a:t> </a:t>
            </a: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dobrý průnik </a:t>
            </a:r>
            <a:b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do zánětlivých exsudátů, tonzil, středoušní tekutiny</a:t>
            </a:r>
            <a:endParaRPr lang="en-US" sz="24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D9140D-C4CA-40F9-BA5B-5E27C0FA95FC}"/>
              </a:ext>
            </a:extLst>
          </p:cNvPr>
          <p:cNvSpPr txBox="1"/>
          <p:nvPr/>
        </p:nvSpPr>
        <p:spPr>
          <a:xfrm>
            <a:off x="373513" y="718455"/>
            <a:ext cx="4957023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2400" dirty="0">
                <a:solidFill>
                  <a:schemeClr val="accent2"/>
                </a:solidFill>
                <a:latin typeface="Aptos" panose="020B0004020202020204" pitchFamily="34" charset="0"/>
              </a:rPr>
              <a:t>široké antibakteriální spektrum</a:t>
            </a:r>
            <a:endParaRPr lang="bg-BG" sz="2400" dirty="0">
              <a:solidFill>
                <a:schemeClr val="accent2"/>
              </a:solidFill>
              <a:latin typeface="Aptos" panose="020B0004020202020204" pitchFamily="34" charset="0"/>
            </a:endParaRP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vhodné pro empirickou terapii</a:t>
            </a:r>
            <a:endParaRPr lang="en-US" sz="24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F9C2E674-20A0-251E-0507-9631EEDCE11A}"/>
              </a:ext>
            </a:extLst>
          </p:cNvPr>
          <p:cNvSpPr/>
          <p:nvPr/>
        </p:nvSpPr>
        <p:spPr>
          <a:xfrm>
            <a:off x="633615" y="727146"/>
            <a:ext cx="506060" cy="4749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dirty="0">
                <a:solidFill>
                  <a:schemeClr val="accent1"/>
                </a:solidFill>
                <a:latin typeface="Aptos" panose="020B00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</a:t>
            </a:r>
            <a:endParaRPr lang="cs-CZ" sz="3200" dirty="0">
              <a:solidFill>
                <a:schemeClr val="accent1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159AA373-D1D8-1880-A94F-6038C4CC825C}"/>
              </a:ext>
            </a:extLst>
          </p:cNvPr>
          <p:cNvSpPr/>
          <p:nvPr/>
        </p:nvSpPr>
        <p:spPr>
          <a:xfrm>
            <a:off x="7950847" y="1060467"/>
            <a:ext cx="656822" cy="4749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dirty="0">
                <a:solidFill>
                  <a:schemeClr val="accent1"/>
                </a:solidFill>
                <a:latin typeface="Aptos" panose="020B00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</a:t>
            </a:r>
            <a:endParaRPr lang="cs-CZ" sz="3200" dirty="0">
              <a:solidFill>
                <a:schemeClr val="accent1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Rectangle: Rounded Corners 6">
            <a:extLst>
              <a:ext uri="{FF2B5EF4-FFF2-40B4-BE49-F238E27FC236}">
                <a16:creationId xmlns:a16="http://schemas.microsoft.com/office/drawing/2014/main" id="{3D9E8BEC-2009-6F13-D1F5-8D86CA80091E}"/>
              </a:ext>
            </a:extLst>
          </p:cNvPr>
          <p:cNvSpPr/>
          <p:nvPr/>
        </p:nvSpPr>
        <p:spPr>
          <a:xfrm>
            <a:off x="5247410" y="5530737"/>
            <a:ext cx="6826826" cy="122383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The Journal of Laryngology &amp; Otology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nl-N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April 2005,Vol. 119, pp. 251–258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Recurrent Bacterial Upper Respiratory Infections: Treatment Options With A Focus On </a:t>
            </a:r>
            <a:r>
              <a:rPr lang="en-US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prozil</a:t>
            </a:r>
            <a:endParaRPr lang="en-US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  <a:p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</a:t>
            </a: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ps://journals.lww.com/pidj/Fulltext/1998/08001/Treatment_of_upper_and_lower_respiratory_tract.7.aspx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Williams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PEO,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Harding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SM: J.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Antim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 Chemoth.,1984,13,2:191-196.</a:t>
            </a:r>
            <a:b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Barriere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SL.: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lin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Inf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 Dis.,1992,14:184-188.</a:t>
            </a:r>
            <a:endParaRPr lang="cs-CZ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45983D9-43B0-7A05-8E36-7B4E62F3C2FD}"/>
              </a:ext>
            </a:extLst>
          </p:cNvPr>
          <p:cNvSpPr/>
          <p:nvPr/>
        </p:nvSpPr>
        <p:spPr>
          <a:xfrm>
            <a:off x="10203873" y="653146"/>
            <a:ext cx="1429893" cy="311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311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2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5" grpId="0" animBg="1"/>
      <p:bldP spid="14" grpId="0" animBg="1"/>
      <p:bldP spid="17" grpId="0" animBg="1"/>
      <p:bldP spid="18" grpId="0" animBg="1"/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6C9A9E4-F68C-9784-3597-EBDE3FCCD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>
                <a:latin typeface="Aptos" panose="020B0004020202020204" pitchFamily="34" charset="0"/>
              </a:rPr>
              <a:t>Indikace </a:t>
            </a:r>
            <a:r>
              <a:rPr lang="cs-CZ" sz="3200" dirty="0" err="1">
                <a:latin typeface="Aptos" panose="020B0004020202020204" pitchFamily="34" charset="0"/>
              </a:rPr>
              <a:t>cefprozilu</a:t>
            </a:r>
            <a:endParaRPr lang="cs-CZ" sz="3200" dirty="0">
              <a:latin typeface="Aptos" panose="020B0004020202020204" pitchFamily="34" charset="0"/>
            </a:endParaRPr>
          </a:p>
        </p:txBody>
      </p:sp>
      <p:graphicFrame>
        <p:nvGraphicFramePr>
          <p:cNvPr id="3" name="Tabulka 3">
            <a:extLst>
              <a:ext uri="{FF2B5EF4-FFF2-40B4-BE49-F238E27FC236}">
                <a16:creationId xmlns:a16="http://schemas.microsoft.com/office/drawing/2014/main" id="{E0366B20-3842-9861-44A2-53A7863E7C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2867938"/>
              </p:ext>
            </p:extLst>
          </p:nvPr>
        </p:nvGraphicFramePr>
        <p:xfrm>
          <a:off x="1046925" y="1636164"/>
          <a:ext cx="9947868" cy="43251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3934">
                  <a:extLst>
                    <a:ext uri="{9D8B030D-6E8A-4147-A177-3AD203B41FA5}">
                      <a16:colId xmlns:a16="http://schemas.microsoft.com/office/drawing/2014/main" val="2279847669"/>
                    </a:ext>
                  </a:extLst>
                </a:gridCol>
                <a:gridCol w="4973934">
                  <a:extLst>
                    <a:ext uri="{9D8B030D-6E8A-4147-A177-3AD203B41FA5}">
                      <a16:colId xmlns:a16="http://schemas.microsoft.com/office/drawing/2014/main" val="3678297209"/>
                    </a:ext>
                  </a:extLst>
                </a:gridCol>
              </a:tblGrid>
              <a:tr h="440148">
                <a:tc>
                  <a:txBody>
                    <a:bodyPr/>
                    <a:lstStyle/>
                    <a:p>
                      <a:pPr algn="ctr"/>
                      <a:r>
                        <a:rPr lang="cs-CZ" sz="2400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Děti od 6 měsíců do 12 l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Děti starší 12 let a dospělí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25085579"/>
                  </a:ext>
                </a:extLst>
              </a:tr>
              <a:tr h="739125">
                <a:tc gridSpan="2">
                  <a:txBody>
                    <a:bodyPr/>
                    <a:lstStyle/>
                    <a:p>
                      <a:pPr algn="ctr"/>
                      <a:r>
                        <a:rPr lang="cs-CZ" sz="200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Infekce horních dýchacích cest </a:t>
                      </a:r>
                      <a:br>
                        <a:rPr lang="cs-CZ" sz="200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</a:br>
                      <a:r>
                        <a:rPr lang="cs-CZ" sz="200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včetně faryngitidy, tonzilitidy</a:t>
                      </a:r>
                      <a:endParaRPr lang="cs-CZ" sz="200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4571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8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3768417"/>
                  </a:ext>
                </a:extLst>
              </a:tr>
              <a:tr h="428222">
                <a:tc>
                  <a:txBody>
                    <a:bodyPr/>
                    <a:lstStyle/>
                    <a:p>
                      <a:r>
                        <a:rPr lang="cs-CZ" sz="200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Otitis media </a:t>
                      </a:r>
                      <a:endParaRPr lang="cs-CZ" sz="200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1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Infekce dolních dýchacích cest </a:t>
                      </a:r>
                      <a:br>
                        <a:rPr lang="cs-CZ" sz="2000" b="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</a:br>
                      <a:r>
                        <a:rPr lang="cs-CZ" sz="2000" b="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včetně akutních i chronických bronchitid </a:t>
                      </a:r>
                      <a:br>
                        <a:rPr lang="cs-CZ" sz="2000" b="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</a:br>
                      <a:r>
                        <a:rPr lang="cs-CZ" sz="2000" b="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a pneumonií</a:t>
                      </a:r>
                      <a:endParaRPr lang="cs-CZ" sz="200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2529101"/>
                  </a:ext>
                </a:extLst>
              </a:tr>
              <a:tr h="644736">
                <a:tc gridSpan="2">
                  <a:txBody>
                    <a:bodyPr/>
                    <a:lstStyle/>
                    <a:p>
                      <a:pPr algn="ctr"/>
                      <a:r>
                        <a:rPr lang="cs-CZ" sz="200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Sinusitidy</a:t>
                      </a:r>
                      <a:endParaRPr lang="cs-CZ" sz="200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4571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8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6669567"/>
                  </a:ext>
                </a:extLst>
              </a:tr>
              <a:tr h="739125">
                <a:tc gridSpan="2">
                  <a:txBody>
                    <a:bodyPr/>
                    <a:lstStyle/>
                    <a:p>
                      <a:pPr algn="ctr"/>
                      <a:r>
                        <a:rPr lang="cs-CZ" sz="200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Nekomplikované infekce kůže </a:t>
                      </a:r>
                      <a:br>
                        <a:rPr lang="cs-CZ" sz="200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</a:br>
                      <a:r>
                        <a:rPr lang="cs-CZ" sz="200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a kožních struktur</a:t>
                      </a:r>
                      <a:endParaRPr lang="cs-CZ" sz="200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cs-CZ" sz="1800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0964046"/>
                  </a:ext>
                </a:extLst>
              </a:tr>
              <a:tr h="739125">
                <a:tc>
                  <a:txBody>
                    <a:bodyPr/>
                    <a:lstStyle/>
                    <a:p>
                      <a:endParaRPr lang="cs-CZ" sz="200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1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Nekomplikované záněty močových cest </a:t>
                      </a:r>
                      <a:br>
                        <a:rPr lang="cs-CZ" sz="2000" b="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</a:br>
                      <a:r>
                        <a:rPr lang="cs-CZ" sz="2000" b="0" dirty="0">
                          <a:solidFill>
                            <a:srgbClr val="000000"/>
                          </a:solidFill>
                          <a:latin typeface="Aptos" panose="020B0004020202020204" pitchFamily="34" charset="0"/>
                          <a:cs typeface="Helvetica" panose="020B0604020202020204" pitchFamily="34" charset="0"/>
                        </a:rPr>
                        <a:t>včetně akutní cystitidy </a:t>
                      </a:r>
                      <a:endParaRPr lang="cs-CZ" sz="2000" b="0" dirty="0">
                        <a:latin typeface="Aptos" panose="020B00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18957789"/>
                  </a:ext>
                </a:extLst>
              </a:tr>
            </a:tbl>
          </a:graphicData>
        </a:graphic>
      </p:graphicFrame>
      <p:sp>
        <p:nvSpPr>
          <p:cNvPr id="4" name="Rectangle: Rounded Corners 6">
            <a:extLst>
              <a:ext uri="{FF2B5EF4-FFF2-40B4-BE49-F238E27FC236}">
                <a16:creationId xmlns:a16="http://schemas.microsoft.com/office/drawing/2014/main" id="{3A6CEBF0-F6E8-8018-F5E7-7C25532E1E8E}"/>
              </a:ext>
            </a:extLst>
          </p:cNvPr>
          <p:cNvSpPr/>
          <p:nvPr/>
        </p:nvSpPr>
        <p:spPr>
          <a:xfrm>
            <a:off x="1046925" y="6101992"/>
            <a:ext cx="5689872" cy="35786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SPC </a:t>
            </a: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zil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v aktuální verzi textu</a:t>
            </a:r>
          </a:p>
        </p:txBody>
      </p:sp>
      <p:pic>
        <p:nvPicPr>
          <p:cNvPr id="5" name="Obrázek 4" descr="Obsah obrázku text&#10;&#10;Popis vygenerován s vysokou mírou spolehlivosti">
            <a:extLst>
              <a:ext uri="{FF2B5EF4-FFF2-40B4-BE49-F238E27FC236}">
                <a16:creationId xmlns:a16="http://schemas.microsoft.com/office/drawing/2014/main" id="{2270A32C-39EA-D131-1F03-A85831194E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5281" y="-1774"/>
            <a:ext cx="2036719" cy="149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0197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>
            <a:extLst>
              <a:ext uri="{FF2B5EF4-FFF2-40B4-BE49-F238E27FC236}">
                <a16:creationId xmlns:a16="http://schemas.microsoft.com/office/drawing/2014/main" id="{4ECBCAC4-657B-4FFF-ACE2-48612535B4F1}"/>
              </a:ext>
            </a:extLst>
          </p:cNvPr>
          <p:cNvSpPr txBox="1"/>
          <p:nvPr/>
        </p:nvSpPr>
        <p:spPr>
          <a:xfrm>
            <a:off x="9618614" y="5323095"/>
            <a:ext cx="262449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1. SPC </a:t>
            </a:r>
            <a:r>
              <a:rPr lang="cs-CZ" sz="1100" b="0" i="0" u="none" strike="noStrike" baseline="0" dirty="0" err="1">
                <a:solidFill>
                  <a:srgbClr val="000000"/>
                </a:solidFill>
                <a:latin typeface="Aptos" panose="020B0004020202020204" pitchFamily="34" charset="0"/>
              </a:rPr>
              <a:t>Cefzil</a:t>
            </a:r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 v aktuální verzi textu</a:t>
            </a:r>
          </a:p>
          <a:p>
            <a:pPr algn="l"/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2. SPC </a:t>
            </a:r>
            <a:r>
              <a:rPr lang="cs-CZ" sz="1100" b="0" i="0" u="none" strike="noStrike" baseline="0" dirty="0" err="1">
                <a:solidFill>
                  <a:srgbClr val="000000"/>
                </a:solidFill>
                <a:latin typeface="Aptos" panose="020B0004020202020204" pitchFamily="34" charset="0"/>
              </a:rPr>
              <a:t>Zinnat</a:t>
            </a:r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 v aktuální verzi textu</a:t>
            </a:r>
            <a:b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3. SPC </a:t>
            </a:r>
            <a:r>
              <a:rPr lang="cs-CZ" sz="1100" b="0" i="0" u="none" strike="noStrike" baseline="0" dirty="0" err="1">
                <a:solidFill>
                  <a:srgbClr val="000000"/>
                </a:solidFill>
                <a:latin typeface="Aptos" panose="020B0004020202020204" pitchFamily="34" charset="0"/>
              </a:rPr>
              <a:t>Augmentin</a:t>
            </a:r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 v aktuální verzi textu</a:t>
            </a:r>
            <a:b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4. SPC </a:t>
            </a:r>
            <a:r>
              <a:rPr lang="cs-CZ" sz="1100" b="0" i="0" u="none" strike="noStrike" baseline="0" dirty="0" err="1">
                <a:solidFill>
                  <a:srgbClr val="000000"/>
                </a:solidFill>
                <a:latin typeface="Aptos" panose="020B0004020202020204" pitchFamily="34" charset="0"/>
              </a:rPr>
              <a:t>Klacid</a:t>
            </a:r>
            <a:r>
              <a:rPr lang="cs-CZ" sz="1100" b="0" i="0" u="none" strike="noStrike" baseline="0" dirty="0">
                <a:solidFill>
                  <a:srgbClr val="000000"/>
                </a:solidFill>
                <a:latin typeface="Aptos" panose="020B0004020202020204" pitchFamily="34" charset="0"/>
              </a:rPr>
              <a:t> v aktuální verzi textu</a:t>
            </a:r>
            <a:endParaRPr lang="cs-CZ" sz="28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2320DBFA-6F80-1AD1-D47E-DD74562B85DB}"/>
              </a:ext>
            </a:extLst>
          </p:cNvPr>
          <p:cNvSpPr/>
          <p:nvPr/>
        </p:nvSpPr>
        <p:spPr>
          <a:xfrm>
            <a:off x="592282" y="716973"/>
            <a:ext cx="2264274" cy="2078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F2F0D071-9259-0D49-E9DF-085077EC8227}"/>
              </a:ext>
            </a:extLst>
          </p:cNvPr>
          <p:cNvSpPr/>
          <p:nvPr/>
        </p:nvSpPr>
        <p:spPr>
          <a:xfrm>
            <a:off x="9335444" y="765464"/>
            <a:ext cx="2264274" cy="2078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B30EFEB2-16E2-8B29-9EA5-1919F38A7E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9919" y="-25844"/>
            <a:ext cx="7668695" cy="1152686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D3BDEF8C-3778-AE01-6DA7-3CEB38F073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9529" y="1140633"/>
            <a:ext cx="7668695" cy="5706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46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7FE316D-DB57-5F2D-7FC8-AC0A002D62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>
                <a:latin typeface="Aptos" panose="020B0004020202020204" pitchFamily="34" charset="0"/>
              </a:rPr>
              <a:t>Průnik </a:t>
            </a:r>
            <a:r>
              <a:rPr lang="cs-CZ" sz="3200" dirty="0" err="1">
                <a:latin typeface="Aptos" panose="020B0004020202020204" pitchFamily="34" charset="0"/>
              </a:rPr>
              <a:t>cefprozilu</a:t>
            </a:r>
            <a:r>
              <a:rPr lang="cs-CZ" sz="3200" dirty="0">
                <a:latin typeface="Aptos" panose="020B0004020202020204" pitchFamily="34" charset="0"/>
              </a:rPr>
              <a:t> do tkání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DB50B75C-1554-BDBD-C719-30ED01E593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0820" y="1065360"/>
            <a:ext cx="6740079" cy="5124418"/>
          </a:xfrm>
          <a:prstGeom prst="rect">
            <a:avLst/>
          </a:prstGeom>
        </p:spPr>
      </p:pic>
      <p:pic>
        <p:nvPicPr>
          <p:cNvPr id="3" name="Obrázek 2" descr="Obsah obrázku text&#10;&#10;Popis vygenerován s vysokou mírou spolehlivosti">
            <a:extLst>
              <a:ext uri="{FF2B5EF4-FFF2-40B4-BE49-F238E27FC236}">
                <a16:creationId xmlns:a16="http://schemas.microsoft.com/office/drawing/2014/main" id="{9479E9AB-0D47-7B06-8FB7-3841785669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5281" y="-1774"/>
            <a:ext cx="2036719" cy="149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: Rounded Corners 6">
            <a:extLst>
              <a:ext uri="{FF2B5EF4-FFF2-40B4-BE49-F238E27FC236}">
                <a16:creationId xmlns:a16="http://schemas.microsoft.com/office/drawing/2014/main" id="{2C734E63-EF7E-3126-35D2-560A2ACE5983}"/>
              </a:ext>
            </a:extLst>
          </p:cNvPr>
          <p:cNvSpPr/>
          <p:nvPr/>
        </p:nvSpPr>
        <p:spPr>
          <a:xfrm>
            <a:off x="508002" y="6365684"/>
            <a:ext cx="4509823" cy="385193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Wiseman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LR et al. </a:t>
            </a: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Drugs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</a:rPr>
              <a:t>45 (2): 295-317, 1993.</a:t>
            </a:r>
            <a:endParaRPr lang="cs-CZ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084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9B8B186A-6129-9EBA-B223-20F23487B3B6}"/>
              </a:ext>
            </a:extLst>
          </p:cNvPr>
          <p:cNvSpPr txBox="1">
            <a:spLocks/>
          </p:cNvSpPr>
          <p:nvPr/>
        </p:nvSpPr>
        <p:spPr>
          <a:xfrm>
            <a:off x="508001" y="1442066"/>
            <a:ext cx="11025716" cy="4518897"/>
          </a:xfrm>
          <a:prstGeom prst="rect">
            <a:avLst/>
          </a:prstGeom>
        </p:spPr>
        <p:txBody>
          <a:bodyPr/>
          <a:lstStyle>
            <a:lvl1pPr marL="228576" indent="-228576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•"/>
              <a:defRPr sz="1428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1pPr>
            <a:lvl2pPr marL="457152" indent="-209528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SzPct val="85000"/>
              <a:buFont typeface="Arial" charset="0"/>
              <a:buChar char="–"/>
              <a:defRPr sz="1428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2pPr>
            <a:lvl3pPr marL="685727" indent="-209528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•"/>
              <a:defRPr sz="102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3pPr>
            <a:lvl4pPr marL="914303" indent="-247624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–"/>
              <a:defRPr sz="1020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4pPr>
            <a:lvl5pPr marL="1142879" indent="-228576" algn="l" defTabSz="457152" rtl="0" eaLnBrk="1" fontAlgn="base" hangingPunct="1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>
                <a:srgbClr val="00B1EA"/>
              </a:buClr>
              <a:buFont typeface="Arial" charset="0"/>
              <a:buChar char="»"/>
              <a:defRPr sz="714" kern="1200">
                <a:solidFill>
                  <a:schemeClr val="tx1"/>
                </a:solidFill>
                <a:latin typeface="Helvetica" pitchFamily="2" charset="0"/>
                <a:ea typeface="+mn-ea"/>
                <a:cs typeface="+mn-cs"/>
              </a:defRPr>
            </a:lvl5pPr>
            <a:lvl6pPr marL="2514333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85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37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88" indent="-228576" algn="l" defTabSz="457152" rtl="0" eaLnBrk="1" latinLnBrk="0" hangingPunct="1">
              <a:spcBef>
                <a:spcPct val="20000"/>
              </a:spcBef>
              <a:buFont typeface="Arial"/>
              <a:buChar char="•"/>
              <a:defRPr sz="20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sz="1600" b="1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600" dirty="0">
              <a:solidFill>
                <a:srgbClr val="000000"/>
              </a:solidFill>
            </a:endParaRPr>
          </a:p>
          <a:p>
            <a:endParaRPr lang="cs-CZ" sz="1800" dirty="0">
              <a:solidFill>
                <a:srgbClr val="000000"/>
              </a:solidFill>
            </a:endParaRPr>
          </a:p>
          <a:p>
            <a:r>
              <a:rPr lang="cs-CZ" sz="2000" dirty="0">
                <a:solidFill>
                  <a:srgbClr val="000000"/>
                </a:solidFill>
                <a:latin typeface="Aptos" panose="020B0004020202020204" pitchFamily="34" charset="0"/>
              </a:rPr>
              <a:t>Koncentrace </a:t>
            </a:r>
            <a:r>
              <a:rPr lang="cs-CZ" sz="2000" dirty="0" err="1">
                <a:solidFill>
                  <a:srgbClr val="000000"/>
                </a:solidFill>
                <a:latin typeface="Aptos" panose="020B0004020202020204" pitchFamily="34" charset="0"/>
              </a:rPr>
              <a:t>cefprozilu</a:t>
            </a:r>
            <a:r>
              <a:rPr lang="cs-CZ" sz="2000" dirty="0">
                <a:solidFill>
                  <a:srgbClr val="000000"/>
                </a:solidFill>
                <a:latin typeface="Aptos" panose="020B0004020202020204" pitchFamily="34" charset="0"/>
              </a:rPr>
              <a:t> ve středouší jsou ≥6 hodin nad požadovanou minimální inhibiční koncentrací (MIC) pro většinu patogenů způsobujících otitis media.   </a:t>
            </a:r>
          </a:p>
          <a:p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714D850-8110-C520-831A-B60542FA06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>
                <a:latin typeface="Aptos" panose="020B0004020202020204" pitchFamily="34" charset="0"/>
              </a:rPr>
              <a:t>Cefalosporiny v léčbě akutní otitis media u dětí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C28458B7-6579-9F7B-1BDB-1854E7B391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8561" y="1089699"/>
            <a:ext cx="6438191" cy="3508893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257DB1A-EC55-4567-C0FF-2E2864517261}"/>
              </a:ext>
            </a:extLst>
          </p:cNvPr>
          <p:cNvSpPr/>
          <p:nvPr/>
        </p:nvSpPr>
        <p:spPr>
          <a:xfrm>
            <a:off x="3088560" y="4504708"/>
            <a:ext cx="5655180" cy="446251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Brook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I. </a:t>
            </a: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</a:rPr>
              <a:t>International Journal of Antimicrobial Agents 24 (2004) 18–23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</a:rPr>
              <a:t>.</a:t>
            </a:r>
            <a:endParaRPr lang="cs-CZ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C729A00A-4A3A-F627-908E-680527A747F1}"/>
              </a:ext>
            </a:extLst>
          </p:cNvPr>
          <p:cNvCxnSpPr>
            <a:cxnSpLocks/>
          </p:cNvCxnSpPr>
          <p:nvPr/>
        </p:nvCxnSpPr>
        <p:spPr>
          <a:xfrm>
            <a:off x="3088560" y="4099730"/>
            <a:ext cx="544969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: Rounded Corners 6">
            <a:extLst>
              <a:ext uri="{FF2B5EF4-FFF2-40B4-BE49-F238E27FC236}">
                <a16:creationId xmlns:a16="http://schemas.microsoft.com/office/drawing/2014/main" id="{20D8E212-E516-EA88-AB34-02ACFFF6CB31}"/>
              </a:ext>
            </a:extLst>
          </p:cNvPr>
          <p:cNvSpPr/>
          <p:nvPr/>
        </p:nvSpPr>
        <p:spPr>
          <a:xfrm>
            <a:off x="772210" y="5960963"/>
            <a:ext cx="7095201" cy="28187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Nicolau DP et al. </a:t>
            </a:r>
            <a:r>
              <a:rPr lang="pl-P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ediatr Drugs 2007; 9 (2): 119-123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8EECDEFD-4E1B-CE58-B669-2316E7928C3B}"/>
              </a:ext>
            </a:extLst>
          </p:cNvPr>
          <p:cNvSpPr/>
          <p:nvPr/>
        </p:nvSpPr>
        <p:spPr>
          <a:xfrm>
            <a:off x="8645236" y="3855027"/>
            <a:ext cx="737755" cy="2447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2400" b="1" dirty="0">
                <a:solidFill>
                  <a:srgbClr val="FF0000"/>
                </a:solidFill>
                <a:latin typeface="Aptos" panose="020B0004020202020204" pitchFamily="34" charset="0"/>
              </a:rPr>
              <a:t>36 %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3DE443B0-C958-B8CC-FA8C-E5891ADD9123}"/>
              </a:ext>
            </a:extLst>
          </p:cNvPr>
          <p:cNvSpPr/>
          <p:nvPr/>
        </p:nvSpPr>
        <p:spPr>
          <a:xfrm>
            <a:off x="9382991" y="1548245"/>
            <a:ext cx="633845" cy="6130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905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 descr="Obsah obrázku text&#10;&#10;Popis vygenerován s vysokou mírou spolehlivosti">
            <a:extLst>
              <a:ext uri="{FF2B5EF4-FFF2-40B4-BE49-F238E27FC236}">
                <a16:creationId xmlns:a16="http://schemas.microsoft.com/office/drawing/2014/main" id="{56FD569A-54F0-3643-DCBB-7CB914D365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581" y="1549452"/>
            <a:ext cx="4062845" cy="2983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: Rounded Corners 6">
            <a:extLst>
              <a:ext uri="{FF2B5EF4-FFF2-40B4-BE49-F238E27FC236}">
                <a16:creationId xmlns:a16="http://schemas.microsoft.com/office/drawing/2014/main" id="{59FDC8FE-C10D-2F55-5202-E74500BD2451}"/>
              </a:ext>
            </a:extLst>
          </p:cNvPr>
          <p:cNvSpPr/>
          <p:nvPr/>
        </p:nvSpPr>
        <p:spPr>
          <a:xfrm>
            <a:off x="737587" y="5715852"/>
            <a:ext cx="4509823" cy="83000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SPC </a:t>
            </a: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zil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v aktuální verzi textu 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Wiseman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LR et al. </a:t>
            </a: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Drugs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</a:rPr>
              <a:t>45 (2): 295-317, 1993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Nicolau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DP et al. </a:t>
            </a:r>
            <a:r>
              <a:rPr lang="pl-P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ediatr Drugs 2007; 9 (2): 119-123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Brook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I. </a:t>
            </a:r>
            <a:r>
              <a:rPr lang="pl-P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Pediatr Drugs 2007; 9 (2): 119-123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Yildirim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I et al. </a:t>
            </a: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The Turkish Journal of Pediatrics 2008; 50: 120-125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C4D833F0-370F-12B1-761F-541A724A3D55}"/>
              </a:ext>
            </a:extLst>
          </p:cNvPr>
          <p:cNvSpPr/>
          <p:nvPr/>
        </p:nvSpPr>
        <p:spPr>
          <a:xfrm>
            <a:off x="373513" y="653146"/>
            <a:ext cx="11444974" cy="311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ECD5245-60F4-4B18-9A67-258DB1E3EF57}"/>
              </a:ext>
            </a:extLst>
          </p:cNvPr>
          <p:cNvSpPr txBox="1"/>
          <p:nvPr/>
        </p:nvSpPr>
        <p:spPr>
          <a:xfrm>
            <a:off x="-526589" y="3937475"/>
            <a:ext cx="51530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tabLst>
                <a:tab pos="1713074" algn="l"/>
              </a:tabLst>
            </a:pPr>
            <a:r>
              <a:rPr lang="cs-CZ" sz="2400" dirty="0">
                <a:solidFill>
                  <a:schemeClr val="accent2"/>
                </a:solidFill>
                <a:latin typeface="Aptos" panose="020B0004020202020204" pitchFamily="34" charset="0"/>
              </a:rPr>
              <a:t>rychlá a úplná absorpce</a:t>
            </a:r>
            <a:r>
              <a:rPr lang="bg-BG" sz="2400" dirty="0">
                <a:solidFill>
                  <a:schemeClr val="accent2"/>
                </a:solidFill>
                <a:latin typeface="Aptos" panose="020B0004020202020204" pitchFamily="34" charset="0"/>
              </a:rPr>
              <a:t> </a:t>
            </a: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nezávislá na příjmu potravy</a:t>
            </a:r>
            <a:b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není ovlivněná antacidy</a:t>
            </a:r>
            <a:br>
              <a:rPr lang="cs-CZ" sz="2400" dirty="0">
                <a:solidFill>
                  <a:srgbClr val="494C4F"/>
                </a:solidFill>
                <a:latin typeface="Aptos" panose="020B0004020202020204" pitchFamily="34" charset="0"/>
              </a:rPr>
            </a:br>
            <a:r>
              <a:rPr lang="cs-CZ" sz="2400" dirty="0">
                <a:solidFill>
                  <a:srgbClr val="00A1E4"/>
                </a:solidFill>
                <a:latin typeface="Aptos" panose="020B0004020202020204" pitchFamily="34" charset="0"/>
              </a:rPr>
              <a:t>biologická dostupnost 90 %</a:t>
            </a:r>
            <a:endParaRPr lang="en-US" sz="2400" dirty="0">
              <a:solidFill>
                <a:srgbClr val="00A1E4"/>
              </a:solidFill>
              <a:latin typeface="Aptos" panose="020B00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561A2F-81F9-4717-AA75-59A533BD9191}"/>
              </a:ext>
            </a:extLst>
          </p:cNvPr>
          <p:cNvSpPr txBox="1"/>
          <p:nvPr/>
        </p:nvSpPr>
        <p:spPr>
          <a:xfrm>
            <a:off x="7350614" y="1030935"/>
            <a:ext cx="4207771" cy="15696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2400" dirty="0">
                <a:solidFill>
                  <a:schemeClr val="accent2"/>
                </a:solidFill>
                <a:latin typeface="Aptos" panose="020B0004020202020204" pitchFamily="34" charset="0"/>
              </a:rPr>
              <a:t>rychlá klinická odezva</a:t>
            </a:r>
            <a:r>
              <a:rPr lang="bg-BG" sz="2400" dirty="0">
                <a:solidFill>
                  <a:schemeClr val="accent2"/>
                </a:solidFill>
                <a:latin typeface="Aptos" panose="020B0004020202020204" pitchFamily="34" charset="0"/>
              </a:rPr>
              <a:t> </a:t>
            </a: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dobrý průnik </a:t>
            </a:r>
            <a:b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do zánětlivých exsudátů, tonzil, středoušní tekutiny</a:t>
            </a:r>
            <a:endParaRPr lang="en-US" sz="24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D9140D-C4CA-40F9-BA5B-5E27C0FA95FC}"/>
              </a:ext>
            </a:extLst>
          </p:cNvPr>
          <p:cNvSpPr txBox="1"/>
          <p:nvPr/>
        </p:nvSpPr>
        <p:spPr>
          <a:xfrm>
            <a:off x="373513" y="718455"/>
            <a:ext cx="4957023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2400" dirty="0">
                <a:solidFill>
                  <a:schemeClr val="accent2"/>
                </a:solidFill>
                <a:latin typeface="Aptos" panose="020B0004020202020204" pitchFamily="34" charset="0"/>
              </a:rPr>
              <a:t>široké antibakteriální spektrum</a:t>
            </a:r>
            <a:endParaRPr lang="bg-BG" sz="2400" dirty="0">
              <a:solidFill>
                <a:schemeClr val="accent2"/>
              </a:solidFill>
              <a:latin typeface="Aptos" panose="020B0004020202020204" pitchFamily="34" charset="0"/>
            </a:endParaRPr>
          </a:p>
          <a:p>
            <a:pPr algn="r"/>
            <a:r>
              <a:rPr lang="cs-CZ" sz="2400" dirty="0">
                <a:solidFill>
                  <a:srgbClr val="000000"/>
                </a:solidFill>
                <a:latin typeface="Aptos" panose="020B0004020202020204" pitchFamily="34" charset="0"/>
              </a:rPr>
              <a:t>vhodné pro empirickou terapii</a:t>
            </a:r>
            <a:endParaRPr lang="en-US" sz="2400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F9C2E674-20A0-251E-0507-9631EEDCE11A}"/>
              </a:ext>
            </a:extLst>
          </p:cNvPr>
          <p:cNvSpPr/>
          <p:nvPr/>
        </p:nvSpPr>
        <p:spPr>
          <a:xfrm>
            <a:off x="633615" y="727146"/>
            <a:ext cx="506060" cy="4749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dirty="0">
                <a:solidFill>
                  <a:schemeClr val="accent1"/>
                </a:solidFill>
                <a:latin typeface="Aptos" panose="020B00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</a:t>
            </a:r>
            <a:endParaRPr lang="cs-CZ" sz="3200" dirty="0">
              <a:solidFill>
                <a:schemeClr val="accent1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159AA373-D1D8-1880-A94F-6038C4CC825C}"/>
              </a:ext>
            </a:extLst>
          </p:cNvPr>
          <p:cNvSpPr/>
          <p:nvPr/>
        </p:nvSpPr>
        <p:spPr>
          <a:xfrm>
            <a:off x="7950847" y="1060467"/>
            <a:ext cx="656822" cy="4749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dirty="0">
                <a:solidFill>
                  <a:schemeClr val="accent1"/>
                </a:solidFill>
                <a:latin typeface="Aptos" panose="020B00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</a:t>
            </a:r>
            <a:endParaRPr lang="cs-CZ" sz="3200" dirty="0">
              <a:solidFill>
                <a:schemeClr val="accent1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A650E4F-4E0D-7882-E060-A1822558993A}"/>
              </a:ext>
            </a:extLst>
          </p:cNvPr>
          <p:cNvSpPr/>
          <p:nvPr/>
        </p:nvSpPr>
        <p:spPr>
          <a:xfrm>
            <a:off x="886645" y="4074239"/>
            <a:ext cx="411982" cy="2014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pPr algn="ctr"/>
            <a:r>
              <a:rPr lang="cs-CZ" sz="3200" dirty="0">
                <a:solidFill>
                  <a:schemeClr val="accent1"/>
                </a:solidFill>
                <a:latin typeface="Aptos" panose="020B0004020202020204" pitchFamily="34" charset="0"/>
                <a:cs typeface="Helvetica" panose="020B0604020202020204" pitchFamily="34" charset="0"/>
                <a:sym typeface="Wingdings" panose="05000000000000000000" pitchFamily="2" charset="2"/>
              </a:rPr>
              <a:t></a:t>
            </a:r>
            <a:endParaRPr lang="cs-CZ" sz="3200" dirty="0">
              <a:solidFill>
                <a:schemeClr val="accent1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Rectangle: Rounded Corners 6">
            <a:extLst>
              <a:ext uri="{FF2B5EF4-FFF2-40B4-BE49-F238E27FC236}">
                <a16:creationId xmlns:a16="http://schemas.microsoft.com/office/drawing/2014/main" id="{3D9E8BEC-2009-6F13-D1F5-8D86CA80091E}"/>
              </a:ext>
            </a:extLst>
          </p:cNvPr>
          <p:cNvSpPr/>
          <p:nvPr/>
        </p:nvSpPr>
        <p:spPr>
          <a:xfrm>
            <a:off x="5247410" y="5530737"/>
            <a:ext cx="6826826" cy="122383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ctr" anchorCtr="0"/>
          <a:lstStyle/>
          <a:p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The Journal of Laryngology &amp; Otology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</a:t>
            </a:r>
            <a:r>
              <a:rPr lang="nl-NL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April 2005,Vol. 119, pp. 251–258</a:t>
            </a:r>
            <a: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Recurrent Bacterial Upper Respiratory Infections: Treatment Options With A Focus On </a:t>
            </a:r>
            <a:r>
              <a:rPr lang="en-US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prozil</a:t>
            </a:r>
            <a:endParaRPr lang="en-US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  <a:p>
            <a:r>
              <a:rPr 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</a:t>
            </a:r>
            <a:r>
              <a:rPr lang="en-US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ps://journals.lww.com/pidj/Fulltext/1998/08001/Treatment_of_upper_and_lower_respiratory_tract.7.aspx</a:t>
            </a:r>
            <a:br>
              <a:rPr 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Williams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PEO,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Harding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SM: J.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Antim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 Chemoth.,1984,13,2:191-196.</a:t>
            </a:r>
            <a:b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</a:b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Barriere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SL.: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lin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 </a:t>
            </a:r>
            <a:r>
              <a:rPr lang="cs-CZ" altLang="cs-CZ" sz="11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Inf</a:t>
            </a:r>
            <a:r>
              <a:rPr lang="cs-CZ" altLang="cs-CZ" sz="11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. Dis.,1992,14:184-188.</a:t>
            </a:r>
            <a:endParaRPr lang="cs-CZ" sz="11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F45983D9-43B0-7A05-8E36-7B4E62F3C2FD}"/>
              </a:ext>
            </a:extLst>
          </p:cNvPr>
          <p:cNvSpPr/>
          <p:nvPr/>
        </p:nvSpPr>
        <p:spPr>
          <a:xfrm>
            <a:off x="10203873" y="653146"/>
            <a:ext cx="1429893" cy="311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42768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89EF0FF-E76D-6987-938E-F6770E8C1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>
                <a:latin typeface="Aptos" panose="020B0004020202020204" pitchFamily="34" charset="0"/>
              </a:rPr>
              <a:t>Porovnání absorpce </a:t>
            </a:r>
            <a:r>
              <a:rPr lang="cs-CZ" sz="3200" dirty="0" err="1">
                <a:latin typeface="Aptos" panose="020B0004020202020204" pitchFamily="34" charset="0"/>
              </a:rPr>
              <a:t>p.o</a:t>
            </a:r>
            <a:r>
              <a:rPr lang="cs-CZ" sz="3200" dirty="0">
                <a:latin typeface="Aptos" panose="020B0004020202020204" pitchFamily="34" charset="0"/>
              </a:rPr>
              <a:t>. cefalosporinů z GI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2F6ABFC-3FEB-165D-0CE3-C2151602D9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0583" y="1223239"/>
            <a:ext cx="6417920" cy="3858117"/>
          </a:xfrm>
          <a:prstGeom prst="rect">
            <a:avLst/>
          </a:prstGeom>
          <a:noFill/>
          <a:ln>
            <a:noFill/>
          </a:ln>
        </p:spPr>
        <p:txBody>
          <a:bodyPr lIns="0" rIns="0"/>
          <a:lstStyle>
            <a:lvl1pPr marL="90488" indent="-904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1281" indent="-81281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 </a:t>
            </a:r>
            <a:r>
              <a:rPr lang="cs-CZ" altLang="sk-SK" sz="2400" b="1" dirty="0">
                <a:solidFill>
                  <a:srgbClr val="00A1E4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prozil 			&gt;90 %</a:t>
            </a:r>
          </a:p>
          <a:p>
            <a:pPr marL="81281" indent="-81281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 Cefalexin			90 %</a:t>
            </a:r>
          </a:p>
          <a:p>
            <a:pPr marL="81281" indent="-81281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lang="cs-CZ" altLang="sk-SK" sz="2400" dirty="0">
                <a:solidFill>
                  <a:srgbClr val="00A1E4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 </a:t>
            </a:r>
            <a:r>
              <a:rPr lang="cs-CZ" altLang="sk-SK" sz="2400" dirty="0" err="1">
                <a:solidFill>
                  <a:srgbClr val="00A1E4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adroxil</a:t>
            </a:r>
            <a:r>
              <a:rPr lang="cs-CZ" altLang="sk-SK" sz="2400" dirty="0">
                <a:solidFill>
                  <a:srgbClr val="00A1E4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			80 – 90 %</a:t>
            </a:r>
          </a:p>
          <a:p>
            <a:pPr marL="81281" indent="-81281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 </a:t>
            </a:r>
            <a:r>
              <a:rPr lang="cs-CZ" altLang="sk-SK" sz="24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aclor</a:t>
            </a: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				70 – 80 %</a:t>
            </a:r>
          </a:p>
          <a:p>
            <a:pPr marL="81281" indent="-81281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 </a:t>
            </a:r>
            <a:r>
              <a:rPr lang="cs-CZ" altLang="sk-SK" sz="24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podoxim-proxetil</a:t>
            </a: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		50 – 70 %*</a:t>
            </a:r>
          </a:p>
          <a:p>
            <a:pPr marL="81281" indent="-81281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 Cefuroxim </a:t>
            </a:r>
            <a:r>
              <a:rPr lang="cs-CZ" altLang="sk-SK" sz="24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axetil</a:t>
            </a: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		50 – 65 %*</a:t>
            </a:r>
          </a:p>
          <a:p>
            <a:pPr marL="81281" indent="-81281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  </a:t>
            </a:r>
            <a:r>
              <a:rPr lang="cs-CZ" altLang="sk-SK" sz="2400" dirty="0" err="1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Cefixim</a:t>
            </a:r>
            <a:r>
              <a:rPr lang="cs-CZ" altLang="sk-SK" sz="2400" dirty="0">
                <a:solidFill>
                  <a:srgbClr val="000000"/>
                </a:solidFill>
                <a:latin typeface="Aptos" panose="020B0004020202020204" pitchFamily="34" charset="0"/>
                <a:cs typeface="Helvetica" panose="020B0604020202020204" pitchFamily="34" charset="0"/>
              </a:rPr>
              <a:t>				40 – 50 %</a:t>
            </a:r>
          </a:p>
          <a:p>
            <a:pPr marL="81281" indent="-81281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endParaRPr lang="cs-CZ" altLang="sk-SK" sz="24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  <a:p>
            <a:pPr marL="0" indent="0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cs-CZ" altLang="sk-SK" sz="24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  <a:p>
            <a:pPr marL="81281" indent="-81281" defTabSz="81281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u"/>
              <a:defRPr/>
            </a:pPr>
            <a:endParaRPr lang="cs-CZ" altLang="sk-SK" sz="2400" dirty="0">
              <a:solidFill>
                <a:srgbClr val="000000"/>
              </a:solidFill>
              <a:latin typeface="Aptos" panose="020B00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" name="BlokTextu 9">
            <a:extLst>
              <a:ext uri="{FF2B5EF4-FFF2-40B4-BE49-F238E27FC236}">
                <a16:creationId xmlns:a16="http://schemas.microsoft.com/office/drawing/2014/main" id="{92F444FC-B489-13F3-CAB7-833A437A7207}"/>
              </a:ext>
            </a:extLst>
          </p:cNvPr>
          <p:cNvSpPr txBox="1"/>
          <p:nvPr/>
        </p:nvSpPr>
        <p:spPr>
          <a:xfrm>
            <a:off x="1382172" y="3808852"/>
            <a:ext cx="58693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400" dirty="0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* </a:t>
            </a:r>
            <a:r>
              <a:rPr lang="sk-SK" sz="1400" dirty="0" err="1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Absorpce</a:t>
            </a:r>
            <a:r>
              <a:rPr lang="sk-SK" sz="1400" dirty="0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 </a:t>
            </a:r>
            <a:r>
              <a:rPr lang="sk-SK" sz="1400" dirty="0" err="1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při</a:t>
            </a:r>
            <a:r>
              <a:rPr lang="sk-SK" sz="1400" dirty="0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 </a:t>
            </a:r>
            <a:r>
              <a:rPr lang="sk-SK" sz="1400" dirty="0" err="1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podání</a:t>
            </a:r>
            <a:r>
              <a:rPr lang="sk-SK" sz="1400" dirty="0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 s </a:t>
            </a:r>
            <a:r>
              <a:rPr lang="sk-SK" sz="1400" dirty="0" err="1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jídlem</a:t>
            </a:r>
            <a:r>
              <a:rPr lang="sk-SK" sz="1400" dirty="0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. Nalačno je u </a:t>
            </a:r>
            <a:r>
              <a:rPr lang="sk-SK" sz="1400" dirty="0" err="1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cefuroxim-axetilu</a:t>
            </a:r>
            <a:r>
              <a:rPr lang="sk-SK" sz="1400" dirty="0">
                <a:solidFill>
                  <a:schemeClr val="accent6">
                    <a:lumMod val="50000"/>
                  </a:schemeClr>
                </a:solidFill>
                <a:latin typeface="Aptos" panose="020B0004020202020204" pitchFamily="34" charset="0"/>
              </a:rPr>
              <a:t> 30-40 %.</a:t>
            </a:r>
          </a:p>
        </p:txBody>
      </p:sp>
      <p:sp>
        <p:nvSpPr>
          <p:cNvPr id="6" name="BlokTextu 13">
            <a:extLst>
              <a:ext uri="{FF2B5EF4-FFF2-40B4-BE49-F238E27FC236}">
                <a16:creationId xmlns:a16="http://schemas.microsoft.com/office/drawing/2014/main" id="{D7584ED7-0BE1-0802-55AB-9D0C3F47E549}"/>
              </a:ext>
            </a:extLst>
          </p:cNvPr>
          <p:cNvSpPr txBox="1"/>
          <p:nvPr/>
        </p:nvSpPr>
        <p:spPr>
          <a:xfrm>
            <a:off x="145473" y="4489742"/>
            <a:ext cx="1138824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Vysoká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vstřebatelnost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=</a:t>
            </a:r>
            <a:b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- zachovaní a obnovení </a:t>
            </a:r>
            <a:r>
              <a:rPr lang="sk-SK" sz="2400" b="1" i="1" dirty="0" err="1">
                <a:solidFill>
                  <a:srgbClr val="00A1E4"/>
                </a:solidFill>
                <a:latin typeface="Aptos" panose="020B0004020202020204" pitchFamily="34" charset="0"/>
              </a:rPr>
              <a:t>střevní</a:t>
            </a:r>
            <a:r>
              <a:rPr lang="sk-SK" sz="2400" b="1" i="1" dirty="0">
                <a:solidFill>
                  <a:srgbClr val="00A1E4"/>
                </a:solidFill>
                <a:latin typeface="Aptos" panose="020B0004020202020204" pitchFamily="34" charset="0"/>
              </a:rPr>
              <a:t> </a:t>
            </a:r>
            <a:r>
              <a:rPr lang="sk-SK" sz="2400" b="1" i="1" dirty="0" err="1">
                <a:solidFill>
                  <a:srgbClr val="00A1E4"/>
                </a:solidFill>
                <a:latin typeface="Aptos" panose="020B0004020202020204" pitchFamily="34" charset="0"/>
              </a:rPr>
              <a:t>mikrobioty</a:t>
            </a:r>
            <a:r>
              <a:rPr lang="sk-SK" sz="2400" b="1" i="1" dirty="0">
                <a:solidFill>
                  <a:srgbClr val="00A1E4"/>
                </a:solidFill>
                <a:latin typeface="Aptos" panose="020B0004020202020204" pitchFamily="34" charset="0"/>
              </a:rPr>
              <a:t>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během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léčby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a po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jejím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ukončení</a:t>
            </a:r>
            <a:b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- nižší výskyt antibiotických </a:t>
            </a:r>
            <a:r>
              <a:rPr lang="sk-SK" sz="2400" b="1" i="1" dirty="0" err="1">
                <a:solidFill>
                  <a:srgbClr val="00A1E4"/>
                </a:solidFill>
                <a:latin typeface="Aptos" panose="020B0004020202020204" pitchFamily="34" charset="0"/>
              </a:rPr>
              <a:t>průjmů</a:t>
            </a:r>
            <a:br>
              <a:rPr lang="sk-SK" sz="2400" b="1" i="1" dirty="0">
                <a:solidFill>
                  <a:srgbClr val="00A1E4"/>
                </a:solidFill>
                <a:latin typeface="Aptos" panose="020B0004020202020204" pitchFamily="34" charset="0"/>
              </a:rPr>
            </a:b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- bez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negativního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vlivu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na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účinnost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sk-SK" sz="2400" b="1" i="1" dirty="0" err="1">
                <a:solidFill>
                  <a:srgbClr val="00A1E4"/>
                </a:solidFill>
                <a:latin typeface="Aptos" panose="020B0004020202020204" pitchFamily="34" charset="0"/>
              </a:rPr>
              <a:t>hormonální</a:t>
            </a:r>
            <a:r>
              <a:rPr lang="sk-SK" sz="2400" b="1" i="1" dirty="0">
                <a:solidFill>
                  <a:srgbClr val="00A1E4"/>
                </a:solidFill>
                <a:latin typeface="Aptos" panose="020B0004020202020204" pitchFamily="34" charset="0"/>
              </a:rPr>
              <a:t> </a:t>
            </a:r>
            <a:r>
              <a:rPr lang="sk-SK" sz="2400" b="1" i="1" dirty="0" err="1">
                <a:solidFill>
                  <a:srgbClr val="00A1E4"/>
                </a:solidFill>
                <a:latin typeface="Aptos" panose="020B0004020202020204" pitchFamily="34" charset="0"/>
              </a:rPr>
              <a:t>antikoncepce</a:t>
            </a:r>
            <a:r>
              <a:rPr lang="sk-SK" sz="2400" b="1" i="1" dirty="0">
                <a:solidFill>
                  <a:srgbClr val="00A1E4"/>
                </a:solidFill>
                <a:latin typeface="Aptos" panose="020B0004020202020204" pitchFamily="34" charset="0"/>
              </a:rPr>
              <a:t> 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u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žen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b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- neporušení zdroje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vitaminu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K, resp. bez </a:t>
            </a:r>
            <a:r>
              <a:rPr lang="sk-SK" sz="2400" b="1" i="1" dirty="0" err="1">
                <a:solidFill>
                  <a:srgbClr val="000000"/>
                </a:solidFill>
                <a:latin typeface="Aptos" panose="020B0004020202020204" pitchFamily="34" charset="0"/>
              </a:rPr>
              <a:t>vlivu</a:t>
            </a:r>
            <a:r>
              <a:rPr lang="sk-SK" sz="2400" b="1" i="1" dirty="0">
                <a:solidFill>
                  <a:srgbClr val="000000"/>
                </a:solidFill>
                <a:latin typeface="Aptos" panose="020B0004020202020204" pitchFamily="34" charset="0"/>
              </a:rPr>
              <a:t> na </a:t>
            </a:r>
            <a:r>
              <a:rPr lang="sk-SK" sz="2400" b="1" i="1" dirty="0" err="1">
                <a:solidFill>
                  <a:srgbClr val="00A1E4"/>
                </a:solidFill>
                <a:latin typeface="Aptos" panose="020B0004020202020204" pitchFamily="34" charset="0"/>
              </a:rPr>
              <a:t>krevní</a:t>
            </a:r>
            <a:r>
              <a:rPr lang="sk-SK" sz="2400" b="1" i="1" dirty="0">
                <a:solidFill>
                  <a:srgbClr val="00A1E4"/>
                </a:solidFill>
                <a:latin typeface="Aptos" panose="020B0004020202020204" pitchFamily="34" charset="0"/>
              </a:rPr>
              <a:t> </a:t>
            </a:r>
            <a:r>
              <a:rPr lang="sk-SK" sz="2400" b="1" i="1" dirty="0" err="1">
                <a:solidFill>
                  <a:srgbClr val="00A1E4"/>
                </a:solidFill>
                <a:latin typeface="Aptos" panose="020B0004020202020204" pitchFamily="34" charset="0"/>
              </a:rPr>
              <a:t>srážlivost</a:t>
            </a:r>
            <a:r>
              <a:rPr lang="sk-SK" sz="2400" b="1" i="1" dirty="0">
                <a:solidFill>
                  <a:srgbClr val="00A1E4"/>
                </a:solidFill>
                <a:latin typeface="Aptos" panose="020B0004020202020204" pitchFamily="34" charset="0"/>
              </a:rPr>
              <a:t>.</a:t>
            </a:r>
          </a:p>
        </p:txBody>
      </p:sp>
      <p:sp>
        <p:nvSpPr>
          <p:cNvPr id="7" name="BlokTextu 11">
            <a:extLst>
              <a:ext uri="{FF2B5EF4-FFF2-40B4-BE49-F238E27FC236}">
                <a16:creationId xmlns:a16="http://schemas.microsoft.com/office/drawing/2014/main" id="{D3C9C256-51EC-94C4-40CA-57C70E7193D3}"/>
              </a:ext>
            </a:extLst>
          </p:cNvPr>
          <p:cNvSpPr txBox="1"/>
          <p:nvPr/>
        </p:nvSpPr>
        <p:spPr>
          <a:xfrm>
            <a:off x="1530583" y="4099770"/>
            <a:ext cx="36006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100" dirty="0">
                <a:solidFill>
                  <a:srgbClr val="000000"/>
                </a:solidFill>
                <a:latin typeface="Aptos" panose="020B0004020202020204" pitchFamily="34" charset="0"/>
              </a:rPr>
              <a:t>Nováková E. Revue medicíny v praxi 16/2018/4/ s.14-15. </a:t>
            </a:r>
          </a:p>
        </p:txBody>
      </p:sp>
      <p:sp>
        <p:nvSpPr>
          <p:cNvPr id="8" name="Šípka: nadol 13">
            <a:extLst>
              <a:ext uri="{FF2B5EF4-FFF2-40B4-BE49-F238E27FC236}">
                <a16:creationId xmlns:a16="http://schemas.microsoft.com/office/drawing/2014/main" id="{B1B167AF-7C52-3DC5-27DA-05FE9032AECF}"/>
              </a:ext>
            </a:extLst>
          </p:cNvPr>
          <p:cNvSpPr/>
          <p:nvPr/>
        </p:nvSpPr>
        <p:spPr>
          <a:xfrm>
            <a:off x="720956" y="1180182"/>
            <a:ext cx="704144" cy="2919588"/>
          </a:xfrm>
          <a:prstGeom prst="downArrow">
            <a:avLst/>
          </a:prstGeom>
          <a:solidFill>
            <a:schemeClr val="accent1"/>
          </a:solidFill>
          <a:ln>
            <a:solidFill>
              <a:srgbClr val="FF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k-SK" sz="1422"/>
          </a:p>
        </p:txBody>
      </p:sp>
      <p:pic>
        <p:nvPicPr>
          <p:cNvPr id="9" name="Obrázok 2">
            <a:extLst>
              <a:ext uri="{FF2B5EF4-FFF2-40B4-BE49-F238E27FC236}">
                <a16:creationId xmlns:a16="http://schemas.microsoft.com/office/drawing/2014/main" id="{7A69D6D6-E57B-B8FF-1F60-24C0ED4ED7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8604" y="1223239"/>
            <a:ext cx="4375113" cy="28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123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E0D0C71-F873-07FC-06D3-860BB743C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skyt průjmů po antibioticích u dětí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761C8432-221F-5D4E-7299-47EBE14FFC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0676" y="989735"/>
            <a:ext cx="8650648" cy="5680636"/>
          </a:xfrm>
          <a:prstGeom prst="rect">
            <a:avLst/>
          </a:prstGeom>
        </p:spPr>
      </p:pic>
      <p:sp>
        <p:nvSpPr>
          <p:cNvPr id="5" name="Obdélník 4">
            <a:extLst>
              <a:ext uri="{FF2B5EF4-FFF2-40B4-BE49-F238E27FC236}">
                <a16:creationId xmlns:a16="http://schemas.microsoft.com/office/drawing/2014/main" id="{23B72A8F-1454-725E-ECBA-00B875E4C222}"/>
              </a:ext>
            </a:extLst>
          </p:cNvPr>
          <p:cNvSpPr/>
          <p:nvPr/>
        </p:nvSpPr>
        <p:spPr>
          <a:xfrm>
            <a:off x="10041840" y="1215736"/>
            <a:ext cx="358702" cy="2182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7EA7CE5A-8EC1-BE3E-689B-16C7483ECD12}"/>
              </a:ext>
            </a:extLst>
          </p:cNvPr>
          <p:cNvSpPr/>
          <p:nvPr/>
        </p:nvSpPr>
        <p:spPr>
          <a:xfrm>
            <a:off x="9373353" y="1731821"/>
            <a:ext cx="658095" cy="2182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E5F2D14D-957A-E961-2CE4-4A3F2314BD0E}"/>
              </a:ext>
            </a:extLst>
          </p:cNvPr>
          <p:cNvSpPr/>
          <p:nvPr/>
        </p:nvSpPr>
        <p:spPr>
          <a:xfrm>
            <a:off x="8985801" y="2258297"/>
            <a:ext cx="775104" cy="28187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85826226-9DB1-9887-8253-53F21ACB5A4B}"/>
              </a:ext>
            </a:extLst>
          </p:cNvPr>
          <p:cNvSpPr/>
          <p:nvPr/>
        </p:nvSpPr>
        <p:spPr>
          <a:xfrm>
            <a:off x="8747549" y="2848440"/>
            <a:ext cx="775104" cy="28187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83BDF109-4B42-4230-CBCC-CA271FC1D1CF}"/>
              </a:ext>
            </a:extLst>
          </p:cNvPr>
          <p:cNvSpPr/>
          <p:nvPr/>
        </p:nvSpPr>
        <p:spPr>
          <a:xfrm>
            <a:off x="8229882" y="3445809"/>
            <a:ext cx="775104" cy="28187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7BAB281-AD21-D545-431A-38813E2D025A}"/>
              </a:ext>
            </a:extLst>
          </p:cNvPr>
          <p:cNvSpPr/>
          <p:nvPr/>
        </p:nvSpPr>
        <p:spPr>
          <a:xfrm>
            <a:off x="7111595" y="3911295"/>
            <a:ext cx="858231" cy="3697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8AA93B81-FA48-DCB1-FCAD-F5E31AAAF8FE}"/>
              </a:ext>
            </a:extLst>
          </p:cNvPr>
          <p:cNvSpPr/>
          <p:nvPr/>
        </p:nvSpPr>
        <p:spPr>
          <a:xfrm>
            <a:off x="6724043" y="4570769"/>
            <a:ext cx="775104" cy="28187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2CEF8217-0249-8954-3F31-3C1C5B91D4E0}"/>
              </a:ext>
            </a:extLst>
          </p:cNvPr>
          <p:cNvSpPr/>
          <p:nvPr/>
        </p:nvSpPr>
        <p:spPr>
          <a:xfrm>
            <a:off x="6375346" y="5129275"/>
            <a:ext cx="775104" cy="28187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37C773FA-8B37-FEDC-4ED6-1070C8B81F0E}"/>
              </a:ext>
            </a:extLst>
          </p:cNvPr>
          <p:cNvSpPr/>
          <p:nvPr/>
        </p:nvSpPr>
        <p:spPr>
          <a:xfrm>
            <a:off x="5925448" y="5589859"/>
            <a:ext cx="775104" cy="28187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3CA68304-5BF3-6847-09EE-5E25EC27B59F}"/>
              </a:ext>
            </a:extLst>
          </p:cNvPr>
          <p:cNvSpPr/>
          <p:nvPr/>
        </p:nvSpPr>
        <p:spPr>
          <a:xfrm>
            <a:off x="9044305" y="2258297"/>
            <a:ext cx="775104" cy="28187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DD7FA74-9D14-6A8E-3F9C-87F6223D00FE}"/>
              </a:ext>
            </a:extLst>
          </p:cNvPr>
          <p:cNvSpPr/>
          <p:nvPr/>
        </p:nvSpPr>
        <p:spPr>
          <a:xfrm>
            <a:off x="10283344" y="6247781"/>
            <a:ext cx="1338096" cy="6064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FCC5F2B8-AF75-45E1-CE8D-01C2EE00140E}"/>
              </a:ext>
            </a:extLst>
          </p:cNvPr>
          <p:cNvSpPr/>
          <p:nvPr/>
        </p:nvSpPr>
        <p:spPr>
          <a:xfrm>
            <a:off x="2650433" y="4450619"/>
            <a:ext cx="4187912" cy="402026"/>
          </a:xfrm>
          <a:prstGeom prst="rect">
            <a:avLst/>
          </a:prstGeom>
          <a:noFill/>
          <a:ln w="762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8B7961A9-674B-3701-9B70-094322ED7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9826" y="550663"/>
            <a:ext cx="572756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cs-CZ" altLang="cs-CZ" sz="1100" b="0" dirty="0" err="1">
                <a:solidFill>
                  <a:srgbClr val="000000"/>
                </a:solidFill>
                <a:latin typeface="+mn-lt"/>
              </a:rPr>
              <a:t>Aronovitz</a:t>
            </a:r>
            <a:r>
              <a:rPr lang="cs-CZ" altLang="cs-CZ" sz="1100" b="0" dirty="0">
                <a:solidFill>
                  <a:srgbClr val="000000"/>
                </a:solidFill>
                <a:latin typeface="+mn-lt"/>
              </a:rPr>
              <a:t> G.: Ped.Inf.Dis.J.,1998,17,8, suppl:S83-88.	</a:t>
            </a:r>
            <a:endParaRPr lang="en-US" altLang="cs-CZ" sz="1100" b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2DDDDC9-77A1-2FA7-FE41-1E10D208E56C}"/>
              </a:ext>
            </a:extLst>
          </p:cNvPr>
          <p:cNvSpPr/>
          <p:nvPr/>
        </p:nvSpPr>
        <p:spPr>
          <a:xfrm>
            <a:off x="8747549" y="1647636"/>
            <a:ext cx="775104" cy="402026"/>
          </a:xfrm>
          <a:prstGeom prst="rect">
            <a:avLst/>
          </a:prstGeom>
          <a:noFill/>
          <a:ln w="762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215E0D2D-B42A-2694-2500-B68F4468DEFD}"/>
              </a:ext>
            </a:extLst>
          </p:cNvPr>
          <p:cNvSpPr/>
          <p:nvPr/>
        </p:nvSpPr>
        <p:spPr>
          <a:xfrm>
            <a:off x="7663431" y="3331807"/>
            <a:ext cx="775104" cy="402026"/>
          </a:xfrm>
          <a:prstGeom prst="rect">
            <a:avLst/>
          </a:prstGeom>
          <a:noFill/>
          <a:ln w="762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18288" rIns="45720" bIns="18288" rtlCol="0" anchor="t" anchorCtr="0"/>
          <a:lstStyle/>
          <a:p>
            <a:pPr algn="ctr"/>
            <a:endParaRPr lang="cs-CZ" sz="1200" b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" name="AutoShape 2" descr="Smajlík – Wikipedie">
            <a:extLst>
              <a:ext uri="{FF2B5EF4-FFF2-40B4-BE49-F238E27FC236}">
                <a16:creationId xmlns:a16="http://schemas.microsoft.com/office/drawing/2014/main" id="{5D53D270-6D63-9143-6572-AE0B5F2F004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FA8CF4E1-1646-2051-6CBD-9F37F1FC2F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5414" y="4269047"/>
            <a:ext cx="775104" cy="775104"/>
          </a:xfrm>
          <a:prstGeom prst="rect">
            <a:avLst/>
          </a:prstGeom>
        </p:spPr>
      </p:pic>
      <p:pic>
        <p:nvPicPr>
          <p:cNvPr id="1030" name="Picture 6" descr="Samuel Smajlík Palec Dolů - Obrázek zdarma na Pixabay">
            <a:extLst>
              <a:ext uri="{FF2B5EF4-FFF2-40B4-BE49-F238E27FC236}">
                <a16:creationId xmlns:a16="http://schemas.microsoft.com/office/drawing/2014/main" id="{4BD050D6-04C4-EB80-8FD1-82D2F1519A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651" y="3197313"/>
            <a:ext cx="908278" cy="713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Samuel Smajlík Palec Dolů - Obrázek zdarma na Pixabay">
            <a:extLst>
              <a:ext uri="{FF2B5EF4-FFF2-40B4-BE49-F238E27FC236}">
                <a16:creationId xmlns:a16="http://schemas.microsoft.com/office/drawing/2014/main" id="{100EF537-FBF1-4707-7B2F-BF777232D1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7309" y="1534226"/>
            <a:ext cx="908278" cy="713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473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trips dir="rd"/>
      </p:transition>
    </mc:Choice>
    <mc:Fallback xmlns="">
      <p:transition spd="slow">
        <p:strips dir="rd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6"/>
</p:tagLst>
</file>

<file path=ppt/theme/theme1.xml><?xml version="1.0" encoding="utf-8"?>
<a:theme xmlns:a="http://schemas.openxmlformats.org/drawingml/2006/main" name="1_Office Theme">
  <a:themeElements>
    <a:clrScheme name="Bausch Health">
      <a:dk1>
        <a:srgbClr val="494C4F"/>
      </a:dk1>
      <a:lt1>
        <a:srgbClr val="FFFFFF"/>
      </a:lt1>
      <a:dk2>
        <a:srgbClr val="494C4F"/>
      </a:dk2>
      <a:lt2>
        <a:srgbClr val="494C4F"/>
      </a:lt2>
      <a:accent1>
        <a:srgbClr val="00A1E3"/>
      </a:accent1>
      <a:accent2>
        <a:srgbClr val="00A1E3"/>
      </a:accent2>
      <a:accent3>
        <a:srgbClr val="AC3378"/>
      </a:accent3>
      <a:accent4>
        <a:srgbClr val="E2B723"/>
      </a:accent4>
      <a:accent5>
        <a:srgbClr val="06382D"/>
      </a:accent5>
      <a:accent6>
        <a:srgbClr val="E0E0E0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98D67D"/>
          </a:solidFill>
        </a:ln>
        <a:effectLst/>
      </a:spPr>
      <a:bodyPr lIns="45720" tIns="18288" rIns="45720" bIns="18288" rtlCol="0" anchor="t" anchorCtr="0"/>
      <a:lstStyle>
        <a:defPPr algn="ctr">
          <a:defRPr sz="1200" b="0" dirty="0" smtClean="0">
            <a:solidFill>
              <a:schemeClr val="tx1"/>
            </a:solidFill>
            <a:latin typeface="Georgia" pitchFamily="18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solidFill>
              <a:srgbClr val="FF0000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a72dda32-ee80-4da8-a3ac-ec0e9e41a50a}" enabled="0" method="" siteId="{a72dda32-ee80-4da8-a3ac-ec0e9e41a50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ausch Health PowerPoint Presentation Template - FINAL</Template>
  <TotalTime>19313</TotalTime>
  <Words>1598</Words>
  <Application>Microsoft Office PowerPoint</Application>
  <PresentationFormat>Širokoúhlá obrazovka</PresentationFormat>
  <Paragraphs>180</Paragraphs>
  <Slides>19</Slides>
  <Notes>6</Notes>
  <HiddenSlides>4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19</vt:i4>
      </vt:variant>
    </vt:vector>
  </HeadingPairs>
  <TitlesOfParts>
    <vt:vector size="30" baseType="lpstr">
      <vt:lpstr>Aptos</vt:lpstr>
      <vt:lpstr>Arial</vt:lpstr>
      <vt:lpstr>Calibri</vt:lpstr>
      <vt:lpstr>Georgia</vt:lpstr>
      <vt:lpstr>Helvetica</vt:lpstr>
      <vt:lpstr>Open Sans</vt:lpstr>
      <vt:lpstr>Trebuchet MS</vt:lpstr>
      <vt:lpstr>Wingdings</vt:lpstr>
      <vt:lpstr>1_Office Theme</vt:lpstr>
      <vt:lpstr>think-cell Slide</vt:lpstr>
      <vt:lpstr>Image</vt:lpstr>
      <vt:lpstr>Cefprozil zraje jako víno  Olga Bálková  OLOMOUCKÉ OTORINOLARYNGOLOGICKÉ ODPOLEDNE  10. dubna 2025</vt:lpstr>
      <vt:lpstr>Prezentace aplikace PowerPoint</vt:lpstr>
      <vt:lpstr>Indikace cefprozilu</vt:lpstr>
      <vt:lpstr>Prezentace aplikace PowerPoint</vt:lpstr>
      <vt:lpstr>Průnik cefprozilu do tkání</vt:lpstr>
      <vt:lpstr>Cefalosporiny v léčbě akutní otitis media u dětí</vt:lpstr>
      <vt:lpstr>Prezentace aplikace PowerPoint</vt:lpstr>
      <vt:lpstr>Porovnání absorpce p.o. cefalosporinů z GIT</vt:lpstr>
      <vt:lpstr>Výskyt průjmů po antibioticích u dětí</vt:lpstr>
      <vt:lpstr>Antibiotické průjmy? Nespoléhejme na probiotika</vt:lpstr>
      <vt:lpstr>Prezentace aplikace PowerPoint</vt:lpstr>
      <vt:lpstr>Cefprozil neovlivňuje fyziologickou flóru nosohltanu</vt:lpstr>
      <vt:lpstr>Prezentace aplikace PowerPoint</vt:lpstr>
      <vt:lpstr>Suspenze s příchutí banán a guarana</vt:lpstr>
      <vt:lpstr>Prezentace aplikace PowerPoint</vt:lpstr>
      <vt:lpstr>Prezentace aplikace PowerPoint</vt:lpstr>
      <vt:lpstr>Cefprozil</vt:lpstr>
      <vt:lpstr>Prezentace aplikace PowerPoint</vt:lpstr>
      <vt:lpstr>Prezentace aplikace PowerPoint</vt:lpstr>
    </vt:vector>
  </TitlesOfParts>
  <Company>PharmaSwis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hmidatou, Abderrahmane</dc:creator>
  <cp:lastModifiedBy>Balkova, Olga</cp:lastModifiedBy>
  <cp:revision>1817</cp:revision>
  <dcterms:created xsi:type="dcterms:W3CDTF">2018-07-24T17:00:54Z</dcterms:created>
  <dcterms:modified xsi:type="dcterms:W3CDTF">2025-04-08T18:31:25Z</dcterms:modified>
</cp:coreProperties>
</file>